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</p:sldMasterIdLst>
  <p:notesMasterIdLst>
    <p:notesMasterId r:id="rId21"/>
  </p:notesMasterIdLst>
  <p:handoutMasterIdLst>
    <p:handoutMasterId r:id="rId22"/>
  </p:handoutMasterIdLst>
  <p:sldIdLst>
    <p:sldId id="704" r:id="rId5"/>
    <p:sldId id="1747" r:id="rId6"/>
    <p:sldId id="1828" r:id="rId7"/>
    <p:sldId id="1829" r:id="rId8"/>
    <p:sldId id="1830" r:id="rId9"/>
    <p:sldId id="1831" r:id="rId10"/>
    <p:sldId id="1832" r:id="rId11"/>
    <p:sldId id="1833" r:id="rId12"/>
    <p:sldId id="1834" r:id="rId13"/>
    <p:sldId id="1710" r:id="rId14"/>
    <p:sldId id="1751" r:id="rId15"/>
    <p:sldId id="1722" r:id="rId16"/>
    <p:sldId id="1729" r:id="rId17"/>
    <p:sldId id="256" r:id="rId18"/>
    <p:sldId id="1824" r:id="rId19"/>
    <p:sldId id="1827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EE44825-05A1-1A4C-B8C7-D13204DB3291}">
          <p14:sldIdLst>
            <p14:sldId id="704"/>
            <p14:sldId id="1747"/>
            <p14:sldId id="1828"/>
            <p14:sldId id="1829"/>
            <p14:sldId id="1830"/>
            <p14:sldId id="1831"/>
            <p14:sldId id="1832"/>
            <p14:sldId id="1833"/>
            <p14:sldId id="1834"/>
            <p14:sldId id="1710"/>
            <p14:sldId id="1751"/>
            <p14:sldId id="1722"/>
            <p14:sldId id="1729"/>
            <p14:sldId id="256"/>
            <p14:sldId id="1824"/>
            <p14:sldId id="18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ris Stanimirovic" initials="BS" lastIdx="2" clrIdx="0">
    <p:extLst>
      <p:ext uri="{19B8F6BF-5375-455C-9EA6-DF929625EA0E}">
        <p15:presenceInfo xmlns:p15="http://schemas.microsoft.com/office/powerpoint/2012/main" userId="S::boris.stanimirovic@riskine.com::9fde510b-6dd5-4b08-8a86-1e50f00d84d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FFB"/>
    <a:srgbClr val="FFFFFF"/>
    <a:srgbClr val="0DA79E"/>
    <a:srgbClr val="C56746"/>
    <a:srgbClr val="100D3C"/>
    <a:srgbClr val="D51130"/>
    <a:srgbClr val="E3EAF3"/>
    <a:srgbClr val="084C86"/>
    <a:srgbClr val="C8EBEB"/>
    <a:srgbClr val="4D50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64" y="144"/>
      </p:cViewPr>
      <p:guideLst>
        <p:guide orient="horz" pos="22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e Grandits" userId="dc120545-9aca-4d04-ab74-4c3c2bc171c1" providerId="ADAL" clId="{C11A1CBB-4B81-46D8-A688-D21E64BAF3D5}"/>
    <pc:docChg chg="modSld">
      <pc:chgData name="Christine Grandits" userId="dc120545-9aca-4d04-ab74-4c3c2bc171c1" providerId="ADAL" clId="{C11A1CBB-4B81-46D8-A688-D21E64BAF3D5}" dt="2022-03-29T09:04:58.628" v="8" actId="20577"/>
      <pc:docMkLst>
        <pc:docMk/>
      </pc:docMkLst>
      <pc:sldChg chg="modSp mod">
        <pc:chgData name="Christine Grandits" userId="dc120545-9aca-4d04-ab74-4c3c2bc171c1" providerId="ADAL" clId="{C11A1CBB-4B81-46D8-A688-D21E64BAF3D5}" dt="2022-03-29T09:04:58.628" v="8" actId="20577"/>
        <pc:sldMkLst>
          <pc:docMk/>
          <pc:sldMk cId="3769322725" sldId="1710"/>
        </pc:sldMkLst>
        <pc:spChg chg="mod">
          <ac:chgData name="Christine Grandits" userId="dc120545-9aca-4d04-ab74-4c3c2bc171c1" providerId="ADAL" clId="{C11A1CBB-4B81-46D8-A688-D21E64BAF3D5}" dt="2022-03-29T09:04:58.628" v="8" actId="20577"/>
          <ac:spMkLst>
            <pc:docMk/>
            <pc:sldMk cId="3769322725" sldId="1710"/>
            <ac:spMk id="2" creationId="{4D1FED9D-D7A7-41AF-AAE4-71B5B667B986}"/>
          </ac:spMkLst>
        </pc:spChg>
      </pc:sldChg>
      <pc:sldChg chg="modSp mod">
        <pc:chgData name="Christine Grandits" userId="dc120545-9aca-4d04-ab74-4c3c2bc171c1" providerId="ADAL" clId="{C11A1CBB-4B81-46D8-A688-D21E64BAF3D5}" dt="2022-03-29T09:03:23.818" v="6" actId="108"/>
        <pc:sldMkLst>
          <pc:docMk/>
          <pc:sldMk cId="1528243539" sldId="1833"/>
        </pc:sldMkLst>
        <pc:spChg chg="mod">
          <ac:chgData name="Christine Grandits" userId="dc120545-9aca-4d04-ab74-4c3c2bc171c1" providerId="ADAL" clId="{C11A1CBB-4B81-46D8-A688-D21E64BAF3D5}" dt="2022-03-29T09:02:22.937" v="4" actId="20577"/>
          <ac:spMkLst>
            <pc:docMk/>
            <pc:sldMk cId="1528243539" sldId="1833"/>
            <ac:spMk id="2" creationId="{AB7F663C-CBF1-4F0E-A81B-7F1D7419DEE0}"/>
          </ac:spMkLst>
        </pc:spChg>
        <pc:picChg chg="mod">
          <ac:chgData name="Christine Grandits" userId="dc120545-9aca-4d04-ab74-4c3c2bc171c1" providerId="ADAL" clId="{C11A1CBB-4B81-46D8-A688-D21E64BAF3D5}" dt="2022-03-29T09:03:14.561" v="5" actId="108"/>
          <ac:picMkLst>
            <pc:docMk/>
            <pc:sldMk cId="1528243539" sldId="1833"/>
            <ac:picMk id="4" creationId="{0B916944-2C32-4AC2-BD08-A394ACF2096A}"/>
          </ac:picMkLst>
        </pc:picChg>
        <pc:picChg chg="mod">
          <ac:chgData name="Christine Grandits" userId="dc120545-9aca-4d04-ab74-4c3c2bc171c1" providerId="ADAL" clId="{C11A1CBB-4B81-46D8-A688-D21E64BAF3D5}" dt="2022-03-29T09:03:23.818" v="6" actId="108"/>
          <ac:picMkLst>
            <pc:docMk/>
            <pc:sldMk cId="1528243539" sldId="1833"/>
            <ac:picMk id="26" creationId="{C1B492B6-E50E-4295-BDD6-0BDAE3D08FC3}"/>
          </ac:picMkLst>
        </pc:picChg>
      </pc:sldChg>
    </pc:docChg>
  </pc:docChgLst>
  <pc:docChgLst>
    <pc:chgData name="Ralf Widtmann" userId="09d9d7f3-f107-42d4-b184-e757b2b60523" providerId="ADAL" clId="{8DD5C42E-7D9F-4A9C-83EF-A19F1E988D79}"/>
    <pc:docChg chg="undo custSel addSld delSld modSld sldOrd modSection">
      <pc:chgData name="Ralf Widtmann" userId="09d9d7f3-f107-42d4-b184-e757b2b60523" providerId="ADAL" clId="{8DD5C42E-7D9F-4A9C-83EF-A19F1E988D79}" dt="2022-04-01T08:54:03.123" v="429" actId="47"/>
      <pc:docMkLst>
        <pc:docMk/>
      </pc:docMkLst>
      <pc:sldChg chg="add del">
        <pc:chgData name="Ralf Widtmann" userId="09d9d7f3-f107-42d4-b184-e757b2b60523" providerId="ADAL" clId="{8DD5C42E-7D9F-4A9C-83EF-A19F1E988D79}" dt="2022-04-01T08:54:02.619" v="427" actId="47"/>
        <pc:sldMkLst>
          <pc:docMk/>
          <pc:sldMk cId="3769322725" sldId="1710"/>
        </pc:sldMkLst>
      </pc:sldChg>
      <pc:sldChg chg="modSp add del mod">
        <pc:chgData name="Ralf Widtmann" userId="09d9d7f3-f107-42d4-b184-e757b2b60523" providerId="ADAL" clId="{8DD5C42E-7D9F-4A9C-83EF-A19F1E988D79}" dt="2022-04-01T08:54:01.906" v="425" actId="47"/>
        <pc:sldMkLst>
          <pc:docMk/>
          <pc:sldMk cId="2904601098" sldId="1722"/>
        </pc:sldMkLst>
        <pc:spChg chg="mod">
          <ac:chgData name="Ralf Widtmann" userId="09d9d7f3-f107-42d4-b184-e757b2b60523" providerId="ADAL" clId="{8DD5C42E-7D9F-4A9C-83EF-A19F1E988D79}" dt="2022-03-04T15:12:39.406" v="312" actId="20577"/>
          <ac:spMkLst>
            <pc:docMk/>
            <pc:sldMk cId="2904601098" sldId="1722"/>
            <ac:spMk id="11" creationId="{9C87EE32-D225-4C63-A806-4CFAA019F9BF}"/>
          </ac:spMkLst>
        </pc:spChg>
      </pc:sldChg>
      <pc:sldChg chg="del">
        <pc:chgData name="Ralf Widtmann" userId="09d9d7f3-f107-42d4-b184-e757b2b60523" providerId="ADAL" clId="{8DD5C42E-7D9F-4A9C-83EF-A19F1E988D79}" dt="2022-03-04T13:50:32.006" v="190" actId="47"/>
        <pc:sldMkLst>
          <pc:docMk/>
          <pc:sldMk cId="1210627953" sldId="1725"/>
        </pc:sldMkLst>
      </pc:sldChg>
      <pc:sldChg chg="del">
        <pc:chgData name="Ralf Widtmann" userId="09d9d7f3-f107-42d4-b184-e757b2b60523" providerId="ADAL" clId="{8DD5C42E-7D9F-4A9C-83EF-A19F1E988D79}" dt="2022-03-04T13:50:33.518" v="191" actId="47"/>
        <pc:sldMkLst>
          <pc:docMk/>
          <pc:sldMk cId="172735708" sldId="1726"/>
        </pc:sldMkLst>
      </pc:sldChg>
      <pc:sldChg chg="modSp del mod ord">
        <pc:chgData name="Ralf Widtmann" userId="09d9d7f3-f107-42d4-b184-e757b2b60523" providerId="ADAL" clId="{8DD5C42E-7D9F-4A9C-83EF-A19F1E988D79}" dt="2022-03-04T15:12:32.229" v="310" actId="47"/>
        <pc:sldMkLst>
          <pc:docMk/>
          <pc:sldMk cId="2987881738" sldId="1727"/>
        </pc:sldMkLst>
        <pc:spChg chg="mod">
          <ac:chgData name="Ralf Widtmann" userId="09d9d7f3-f107-42d4-b184-e757b2b60523" providerId="ADAL" clId="{8DD5C42E-7D9F-4A9C-83EF-A19F1E988D79}" dt="2022-03-04T15:08:29.724" v="305" actId="20577"/>
          <ac:spMkLst>
            <pc:docMk/>
            <pc:sldMk cId="2987881738" sldId="1727"/>
            <ac:spMk id="2" creationId="{AB7F663C-CBF1-4F0E-A81B-7F1D7419DEE0}"/>
          </ac:spMkLst>
        </pc:spChg>
      </pc:sldChg>
      <pc:sldChg chg="del">
        <pc:chgData name="Ralf Widtmann" userId="09d9d7f3-f107-42d4-b184-e757b2b60523" providerId="ADAL" clId="{8DD5C42E-7D9F-4A9C-83EF-A19F1E988D79}" dt="2022-03-04T13:43:43.545" v="7" actId="47"/>
        <pc:sldMkLst>
          <pc:docMk/>
          <pc:sldMk cId="3314759066" sldId="1730"/>
        </pc:sldMkLst>
      </pc:sldChg>
      <pc:sldChg chg="del ord modNotesTx">
        <pc:chgData name="Ralf Widtmann" userId="09d9d7f3-f107-42d4-b184-e757b2b60523" providerId="ADAL" clId="{8DD5C42E-7D9F-4A9C-83EF-A19F1E988D79}" dt="2022-03-04T13:44:27.845" v="17" actId="47"/>
        <pc:sldMkLst>
          <pc:docMk/>
          <pc:sldMk cId="871657614" sldId="1731"/>
        </pc:sldMkLst>
      </pc:sldChg>
      <pc:sldChg chg="del mod modShow">
        <pc:chgData name="Ralf Widtmann" userId="09d9d7f3-f107-42d4-b184-e757b2b60523" providerId="ADAL" clId="{8DD5C42E-7D9F-4A9C-83EF-A19F1E988D79}" dt="2022-03-04T13:50:42.954" v="194" actId="47"/>
        <pc:sldMkLst>
          <pc:docMk/>
          <pc:sldMk cId="3205008243" sldId="1734"/>
        </pc:sldMkLst>
      </pc:sldChg>
      <pc:sldChg chg="del mod modShow">
        <pc:chgData name="Ralf Widtmann" userId="09d9d7f3-f107-42d4-b184-e757b2b60523" providerId="ADAL" clId="{8DD5C42E-7D9F-4A9C-83EF-A19F1E988D79}" dt="2022-03-04T13:50:43.534" v="195" actId="47"/>
        <pc:sldMkLst>
          <pc:docMk/>
          <pc:sldMk cId="3421041120" sldId="1735"/>
        </pc:sldMkLst>
      </pc:sldChg>
      <pc:sldChg chg="addSp delSp modSp del mod ord">
        <pc:chgData name="Ralf Widtmann" userId="09d9d7f3-f107-42d4-b184-e757b2b60523" providerId="ADAL" clId="{8DD5C42E-7D9F-4A9C-83EF-A19F1E988D79}" dt="2022-03-04T13:45:37.870" v="42" actId="47"/>
        <pc:sldMkLst>
          <pc:docMk/>
          <pc:sldMk cId="2411702445" sldId="1738"/>
        </pc:sldMkLst>
        <pc:graphicFrameChg chg="add del mod">
          <ac:chgData name="Ralf Widtmann" userId="09d9d7f3-f107-42d4-b184-e757b2b60523" providerId="ADAL" clId="{8DD5C42E-7D9F-4A9C-83EF-A19F1E988D79}" dt="2022-02-21T16:01:43.572" v="2" actId="478"/>
          <ac:graphicFrameMkLst>
            <pc:docMk/>
            <pc:sldMk cId="2411702445" sldId="1738"/>
            <ac:graphicFrameMk id="3" creationId="{9BACACF7-C691-41B1-9433-9452D1089AFB}"/>
          </ac:graphicFrameMkLst>
        </pc:graphicFrameChg>
      </pc:sldChg>
      <pc:sldChg chg="modSp mod">
        <pc:chgData name="Ralf Widtmann" userId="09d9d7f3-f107-42d4-b184-e757b2b60523" providerId="ADAL" clId="{8DD5C42E-7D9F-4A9C-83EF-A19F1E988D79}" dt="2022-03-04T15:09:06.968" v="308" actId="14100"/>
        <pc:sldMkLst>
          <pc:docMk/>
          <pc:sldMk cId="2548184042" sldId="1747"/>
        </pc:sldMkLst>
        <pc:spChg chg="mod">
          <ac:chgData name="Ralf Widtmann" userId="09d9d7f3-f107-42d4-b184-e757b2b60523" providerId="ADAL" clId="{8DD5C42E-7D9F-4A9C-83EF-A19F1E988D79}" dt="2022-03-04T15:09:06.968" v="308" actId="14100"/>
          <ac:spMkLst>
            <pc:docMk/>
            <pc:sldMk cId="2548184042" sldId="1747"/>
            <ac:spMk id="6" creationId="{F957F0AE-B874-4452-93B2-C425AF6BCE33}"/>
          </ac:spMkLst>
        </pc:spChg>
      </pc:sldChg>
      <pc:sldChg chg="addSp modSp add del mod">
        <pc:chgData name="Ralf Widtmann" userId="09d9d7f3-f107-42d4-b184-e757b2b60523" providerId="ADAL" clId="{8DD5C42E-7D9F-4A9C-83EF-A19F1E988D79}" dt="2022-04-01T08:54:02.289" v="426" actId="47"/>
        <pc:sldMkLst>
          <pc:docMk/>
          <pc:sldMk cId="131805063" sldId="1751"/>
        </pc:sldMkLst>
        <pc:spChg chg="mod">
          <ac:chgData name="Ralf Widtmann" userId="09d9d7f3-f107-42d4-b184-e757b2b60523" providerId="ADAL" clId="{8DD5C42E-7D9F-4A9C-83EF-A19F1E988D79}" dt="2022-03-04T15:12:34.920" v="311" actId="20577"/>
          <ac:spMkLst>
            <pc:docMk/>
            <pc:sldMk cId="131805063" sldId="1751"/>
            <ac:spMk id="2" creationId="{E60740C7-D8D6-4F0C-AA24-00D3E695007D}"/>
          </ac:spMkLst>
        </pc:spChg>
        <pc:spChg chg="mod">
          <ac:chgData name="Ralf Widtmann" userId="09d9d7f3-f107-42d4-b184-e757b2b60523" providerId="ADAL" clId="{8DD5C42E-7D9F-4A9C-83EF-A19F1E988D79}" dt="2022-03-04T15:07:46.082" v="285" actId="1076"/>
          <ac:spMkLst>
            <pc:docMk/>
            <pc:sldMk cId="131805063" sldId="1751"/>
            <ac:spMk id="5" creationId="{3E3A8590-1792-49CE-AB9A-2EE909528695}"/>
          </ac:spMkLst>
        </pc:spChg>
        <pc:spChg chg="add mod">
          <ac:chgData name="Ralf Widtmann" userId="09d9d7f3-f107-42d4-b184-e757b2b60523" providerId="ADAL" clId="{8DD5C42E-7D9F-4A9C-83EF-A19F1E988D79}" dt="2022-03-04T15:08:07.445" v="303" actId="20577"/>
          <ac:spMkLst>
            <pc:docMk/>
            <pc:sldMk cId="131805063" sldId="1751"/>
            <ac:spMk id="13" creationId="{9E144D4F-8AD4-424C-9B87-437DB2D1B508}"/>
          </ac:spMkLst>
        </pc:spChg>
        <pc:spChg chg="mod">
          <ac:chgData name="Ralf Widtmann" userId="09d9d7f3-f107-42d4-b184-e757b2b60523" providerId="ADAL" clId="{8DD5C42E-7D9F-4A9C-83EF-A19F1E988D79}" dt="2022-03-04T15:07:34.174" v="282" actId="1076"/>
          <ac:spMkLst>
            <pc:docMk/>
            <pc:sldMk cId="131805063" sldId="1751"/>
            <ac:spMk id="16" creationId="{68819BA4-EEE6-411A-9462-0A7C505476B8}"/>
          </ac:spMkLst>
        </pc:spChg>
        <pc:spChg chg="mod">
          <ac:chgData name="Ralf Widtmann" userId="09d9d7f3-f107-42d4-b184-e757b2b60523" providerId="ADAL" clId="{8DD5C42E-7D9F-4A9C-83EF-A19F1E988D79}" dt="2022-03-04T15:08:15.945" v="304" actId="1076"/>
          <ac:spMkLst>
            <pc:docMk/>
            <pc:sldMk cId="131805063" sldId="1751"/>
            <ac:spMk id="20" creationId="{167BA38D-B95B-4FBA-9669-A05F54C06F52}"/>
          </ac:spMkLst>
        </pc:spChg>
        <pc:spChg chg="mod">
          <ac:chgData name="Ralf Widtmann" userId="09d9d7f3-f107-42d4-b184-e757b2b60523" providerId="ADAL" clId="{8DD5C42E-7D9F-4A9C-83EF-A19F1E988D79}" dt="2022-03-04T15:07:52.881" v="287" actId="14100"/>
          <ac:spMkLst>
            <pc:docMk/>
            <pc:sldMk cId="131805063" sldId="1751"/>
            <ac:spMk id="21" creationId="{A26B7FFA-83FB-4CAB-8929-5E2202CEAA38}"/>
          </ac:spMkLst>
        </pc:spChg>
      </pc:sldChg>
      <pc:sldChg chg="modSp del mod">
        <pc:chgData name="Ralf Widtmann" userId="09d9d7f3-f107-42d4-b184-e757b2b60523" providerId="ADAL" clId="{8DD5C42E-7D9F-4A9C-83EF-A19F1E988D79}" dt="2022-03-04T13:45:58.800" v="46" actId="47"/>
        <pc:sldMkLst>
          <pc:docMk/>
          <pc:sldMk cId="2652462838" sldId="1774"/>
        </pc:sldMkLst>
        <pc:spChg chg="mod">
          <ac:chgData name="Ralf Widtmann" userId="09d9d7f3-f107-42d4-b184-e757b2b60523" providerId="ADAL" clId="{8DD5C42E-7D9F-4A9C-83EF-A19F1E988D79}" dt="2022-03-04T13:45:47.668" v="44" actId="14100"/>
          <ac:spMkLst>
            <pc:docMk/>
            <pc:sldMk cId="2652462838" sldId="1774"/>
            <ac:spMk id="34" creationId="{E6DE77CF-E898-4D9D-BB80-68692FBADFB1}"/>
          </ac:spMkLst>
        </pc:spChg>
      </pc:sldChg>
      <pc:sldChg chg="del ord">
        <pc:chgData name="Ralf Widtmann" userId="09d9d7f3-f107-42d4-b184-e757b2b60523" providerId="ADAL" clId="{8DD5C42E-7D9F-4A9C-83EF-A19F1E988D79}" dt="2022-03-04T13:46:17.716" v="51" actId="47"/>
        <pc:sldMkLst>
          <pc:docMk/>
          <pc:sldMk cId="292495921" sldId="1780"/>
        </pc:sldMkLst>
      </pc:sldChg>
      <pc:sldChg chg="del">
        <pc:chgData name="Ralf Widtmann" userId="09d9d7f3-f107-42d4-b184-e757b2b60523" providerId="ADAL" clId="{8DD5C42E-7D9F-4A9C-83EF-A19F1E988D79}" dt="2022-03-04T13:45:59.604" v="47" actId="47"/>
        <pc:sldMkLst>
          <pc:docMk/>
          <pc:sldMk cId="2061451370" sldId="1781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855470366" sldId="1785"/>
        </pc:sldMkLst>
      </pc:sldChg>
      <pc:sldChg chg="modSp add del mod">
        <pc:chgData name="Ralf Widtmann" userId="09d9d7f3-f107-42d4-b184-e757b2b60523" providerId="ADAL" clId="{8DD5C42E-7D9F-4A9C-83EF-A19F1E988D79}" dt="2022-03-04T13:50:20.557" v="189" actId="47"/>
        <pc:sldMkLst>
          <pc:docMk/>
          <pc:sldMk cId="2347106240" sldId="1791"/>
        </pc:sldMkLst>
        <pc:spChg chg="mod">
          <ac:chgData name="Ralf Widtmann" userId="09d9d7f3-f107-42d4-b184-e757b2b60523" providerId="ADAL" clId="{8DD5C42E-7D9F-4A9C-83EF-A19F1E988D79}" dt="2022-03-04T13:47:30.779" v="73" actId="20577"/>
          <ac:spMkLst>
            <pc:docMk/>
            <pc:sldMk cId="2347106240" sldId="1791"/>
            <ac:spMk id="10" creationId="{161A3A64-B8B8-42EB-B3E4-8CB3D55292BA}"/>
          </ac:spMkLst>
        </pc:spChg>
      </pc:sldChg>
      <pc:sldChg chg="add del mod modShow">
        <pc:chgData name="Ralf Widtmann" userId="09d9d7f3-f107-42d4-b184-e757b2b60523" providerId="ADAL" clId="{8DD5C42E-7D9F-4A9C-83EF-A19F1E988D79}" dt="2022-03-04T13:45:43.534" v="43" actId="47"/>
        <pc:sldMkLst>
          <pc:docMk/>
          <pc:sldMk cId="1953499263" sldId="1825"/>
        </pc:sldMkLst>
      </pc:sldChg>
      <pc:sldChg chg="add">
        <pc:chgData name="Ralf Widtmann" userId="09d9d7f3-f107-42d4-b184-e757b2b60523" providerId="ADAL" clId="{8DD5C42E-7D9F-4A9C-83EF-A19F1E988D79}" dt="2022-03-04T13:43:10.181" v="5"/>
        <pc:sldMkLst>
          <pc:docMk/>
          <pc:sldMk cId="3296017395" sldId="1828"/>
        </pc:sldMkLst>
      </pc:sldChg>
      <pc:sldChg chg="add">
        <pc:chgData name="Ralf Widtmann" userId="09d9d7f3-f107-42d4-b184-e757b2b60523" providerId="ADAL" clId="{8DD5C42E-7D9F-4A9C-83EF-A19F1E988D79}" dt="2022-03-04T13:43:10.181" v="5"/>
        <pc:sldMkLst>
          <pc:docMk/>
          <pc:sldMk cId="3890735900" sldId="1829"/>
        </pc:sldMkLst>
      </pc:sldChg>
      <pc:sldChg chg="add modNotesTx">
        <pc:chgData name="Ralf Widtmann" userId="09d9d7f3-f107-42d4-b184-e757b2b60523" providerId="ADAL" clId="{8DD5C42E-7D9F-4A9C-83EF-A19F1E988D79}" dt="2022-03-04T13:45:34.845" v="41" actId="6549"/>
        <pc:sldMkLst>
          <pc:docMk/>
          <pc:sldMk cId="291769165" sldId="1830"/>
        </pc:sldMkLst>
      </pc:sldChg>
      <pc:sldChg chg="addSp delSp modSp add mod modNotesTx">
        <pc:chgData name="Ralf Widtmann" userId="09d9d7f3-f107-42d4-b184-e757b2b60523" providerId="ADAL" clId="{8DD5C42E-7D9F-4A9C-83EF-A19F1E988D79}" dt="2022-03-09T07:43:36.973" v="405" actId="1076"/>
        <pc:sldMkLst>
          <pc:docMk/>
          <pc:sldMk cId="203313787" sldId="1831"/>
        </pc:sldMkLst>
        <pc:spChg chg="add del">
          <ac:chgData name="Ralf Widtmann" userId="09d9d7f3-f107-42d4-b184-e757b2b60523" providerId="ADAL" clId="{8DD5C42E-7D9F-4A9C-83EF-A19F1E988D79}" dt="2022-03-07T15:56:36.782" v="378" actId="478"/>
          <ac:spMkLst>
            <pc:docMk/>
            <pc:sldMk cId="203313787" sldId="1831"/>
            <ac:spMk id="2" creationId="{D51AA410-6C77-4C4D-A37C-FCFED7FB6B3D}"/>
          </ac:spMkLst>
        </pc:spChg>
        <pc:spChg chg="mod">
          <ac:chgData name="Ralf Widtmann" userId="09d9d7f3-f107-42d4-b184-e757b2b60523" providerId="ADAL" clId="{8DD5C42E-7D9F-4A9C-83EF-A19F1E988D79}" dt="2022-03-07T15:56:17.876" v="373" actId="1076"/>
          <ac:spMkLst>
            <pc:docMk/>
            <pc:sldMk cId="203313787" sldId="1831"/>
            <ac:spMk id="35" creationId="{B6BE040C-C905-40B3-BFDE-4FE212052C54}"/>
          </ac:spMkLst>
        </pc:spChg>
        <pc:spChg chg="mod">
          <ac:chgData name="Ralf Widtmann" userId="09d9d7f3-f107-42d4-b184-e757b2b60523" providerId="ADAL" clId="{8DD5C42E-7D9F-4A9C-83EF-A19F1E988D79}" dt="2022-03-09T07:43:36.973" v="405" actId="1076"/>
          <ac:spMkLst>
            <pc:docMk/>
            <pc:sldMk cId="203313787" sldId="1831"/>
            <ac:spMk id="37" creationId="{7CE78A1B-16D9-4217-A594-1F5901E0E73C}"/>
          </ac:spMkLst>
        </pc:spChg>
        <pc:picChg chg="del mod">
          <ac:chgData name="Ralf Widtmann" userId="09d9d7f3-f107-42d4-b184-e757b2b60523" providerId="ADAL" clId="{8DD5C42E-7D9F-4A9C-83EF-A19F1E988D79}" dt="2022-03-07T15:56:38.996" v="379" actId="478"/>
          <ac:picMkLst>
            <pc:docMk/>
            <pc:sldMk cId="203313787" sldId="1831"/>
            <ac:picMk id="29" creationId="{8B5755BD-526E-4CC3-AC7C-B340664DF554}"/>
          </ac:picMkLst>
        </pc:picChg>
        <pc:picChg chg="add mod">
          <ac:chgData name="Ralf Widtmann" userId="09d9d7f3-f107-42d4-b184-e757b2b60523" providerId="ADAL" clId="{8DD5C42E-7D9F-4A9C-83EF-A19F1E988D79}" dt="2022-03-07T15:56:26.662" v="375" actId="1076"/>
          <ac:picMkLst>
            <pc:docMk/>
            <pc:sldMk cId="203313787" sldId="1831"/>
            <ac:picMk id="34" creationId="{72FA7D42-7037-4992-90EF-A27DCE05A178}"/>
          </ac:picMkLst>
        </pc:picChg>
        <pc:picChg chg="del">
          <ac:chgData name="Ralf Widtmann" userId="09d9d7f3-f107-42d4-b184-e757b2b60523" providerId="ADAL" clId="{8DD5C42E-7D9F-4A9C-83EF-A19F1E988D79}" dt="2022-03-09T07:43:22.326" v="401" actId="478"/>
          <ac:picMkLst>
            <pc:docMk/>
            <pc:sldMk cId="203313787" sldId="1831"/>
            <ac:picMk id="49" creationId="{384380CA-56BE-418C-99BA-9D44349C288F}"/>
          </ac:picMkLst>
        </pc:picChg>
        <pc:picChg chg="add mod">
          <ac:chgData name="Ralf Widtmann" userId="09d9d7f3-f107-42d4-b184-e757b2b60523" providerId="ADAL" clId="{8DD5C42E-7D9F-4A9C-83EF-A19F1E988D79}" dt="2022-03-09T07:43:29.530" v="404" actId="1076"/>
          <ac:picMkLst>
            <pc:docMk/>
            <pc:sldMk cId="203313787" sldId="1831"/>
            <ac:picMk id="50" creationId="{D4E90893-8062-4FF2-A6B6-177975EF0530}"/>
          </ac:picMkLst>
        </pc:picChg>
        <pc:cxnChg chg="mod">
          <ac:chgData name="Ralf Widtmann" userId="09d9d7f3-f107-42d4-b184-e757b2b60523" providerId="ADAL" clId="{8DD5C42E-7D9F-4A9C-83EF-A19F1E988D79}" dt="2022-03-09T07:37:45.349" v="400" actId="14100"/>
          <ac:cxnSpMkLst>
            <pc:docMk/>
            <pc:sldMk cId="203313787" sldId="1831"/>
            <ac:cxnSpMk id="27" creationId="{3A4B4F96-4BAC-4E55-87CD-3011015F7CE6}"/>
          </ac:cxnSpMkLst>
        </pc:cxnChg>
      </pc:sldChg>
      <pc:sldChg chg="addSp delSp modSp add mod modNotesTx">
        <pc:chgData name="Ralf Widtmann" userId="09d9d7f3-f107-42d4-b184-e757b2b60523" providerId="ADAL" clId="{8DD5C42E-7D9F-4A9C-83EF-A19F1E988D79}" dt="2022-03-25T14:31:35.988" v="419"/>
        <pc:sldMkLst>
          <pc:docMk/>
          <pc:sldMk cId="692739758" sldId="1832"/>
        </pc:sldMkLst>
        <pc:spChg chg="mod">
          <ac:chgData name="Ralf Widtmann" userId="09d9d7f3-f107-42d4-b184-e757b2b60523" providerId="ADAL" clId="{8DD5C42E-7D9F-4A9C-83EF-A19F1E988D79}" dt="2022-03-25T14:31:15.966" v="406"/>
          <ac:spMkLst>
            <pc:docMk/>
            <pc:sldMk cId="692739758" sldId="1832"/>
            <ac:spMk id="33" creationId="{18A805C1-B6EE-44CC-A253-0826C36546D2}"/>
          </ac:spMkLst>
        </pc:spChg>
        <pc:grpChg chg="mod">
          <ac:chgData name="Ralf Widtmann" userId="09d9d7f3-f107-42d4-b184-e757b2b60523" providerId="ADAL" clId="{8DD5C42E-7D9F-4A9C-83EF-A19F1E988D79}" dt="2022-03-25T14:31:34.042" v="414" actId="1076"/>
          <ac:grpSpMkLst>
            <pc:docMk/>
            <pc:sldMk cId="692739758" sldId="1832"/>
            <ac:grpSpMk id="26" creationId="{7DE95AC4-3AEB-40DA-A6B2-AE44A7D51092}"/>
          </ac:grpSpMkLst>
        </pc:grpChg>
        <pc:grpChg chg="add del mod">
          <ac:chgData name="Ralf Widtmann" userId="09d9d7f3-f107-42d4-b184-e757b2b60523" providerId="ADAL" clId="{8DD5C42E-7D9F-4A9C-83EF-A19F1E988D79}" dt="2022-03-25T14:31:35.988" v="419"/>
          <ac:grpSpMkLst>
            <pc:docMk/>
            <pc:sldMk cId="692739758" sldId="1832"/>
            <ac:grpSpMk id="31" creationId="{045E6B61-5E97-4884-B6F2-F7BACE2EF26E}"/>
          </ac:grpSpMkLst>
        </pc:grpChg>
        <pc:picChg chg="add del mod">
          <ac:chgData name="Ralf Widtmann" userId="09d9d7f3-f107-42d4-b184-e757b2b60523" providerId="ADAL" clId="{8DD5C42E-7D9F-4A9C-83EF-A19F1E988D79}" dt="2022-03-25T14:31:35.988" v="419"/>
          <ac:picMkLst>
            <pc:docMk/>
            <pc:sldMk cId="692739758" sldId="1832"/>
            <ac:picMk id="22" creationId="{4D91E8A0-DE25-4864-8159-23D652FB9F1A}"/>
          </ac:picMkLst>
        </pc:picChg>
        <pc:picChg chg="add del mod">
          <ac:chgData name="Ralf Widtmann" userId="09d9d7f3-f107-42d4-b184-e757b2b60523" providerId="ADAL" clId="{8DD5C42E-7D9F-4A9C-83EF-A19F1E988D79}" dt="2022-03-25T14:31:35.988" v="419"/>
          <ac:picMkLst>
            <pc:docMk/>
            <pc:sldMk cId="692739758" sldId="1832"/>
            <ac:picMk id="29" creationId="{D5697815-5301-4529-B45B-4F7153B1067F}"/>
          </ac:picMkLst>
        </pc:picChg>
        <pc:picChg chg="add del mod">
          <ac:chgData name="Ralf Widtmann" userId="09d9d7f3-f107-42d4-b184-e757b2b60523" providerId="ADAL" clId="{8DD5C42E-7D9F-4A9C-83EF-A19F1E988D79}" dt="2022-03-25T14:31:35.988" v="419"/>
          <ac:picMkLst>
            <pc:docMk/>
            <pc:sldMk cId="692739758" sldId="1832"/>
            <ac:picMk id="30" creationId="{F8060813-FF93-47BD-8BCE-6C88FED49FA4}"/>
          </ac:picMkLst>
        </pc:picChg>
        <pc:picChg chg="mod">
          <ac:chgData name="Ralf Widtmann" userId="09d9d7f3-f107-42d4-b184-e757b2b60523" providerId="ADAL" clId="{8DD5C42E-7D9F-4A9C-83EF-A19F1E988D79}" dt="2022-03-25T14:31:15.966" v="406"/>
          <ac:picMkLst>
            <pc:docMk/>
            <pc:sldMk cId="692739758" sldId="1832"/>
            <ac:picMk id="32" creationId="{39A610D9-D240-42B1-98B0-9550AD744C27}"/>
          </ac:picMkLst>
        </pc:picChg>
      </pc:sldChg>
      <pc:sldChg chg="addSp delSp modSp add del mod modNotesTx">
        <pc:chgData name="Ralf Widtmann" userId="09d9d7f3-f107-42d4-b184-e757b2b60523" providerId="ADAL" clId="{8DD5C42E-7D9F-4A9C-83EF-A19F1E988D79}" dt="2022-04-01T08:54:03.123" v="429" actId="47"/>
        <pc:sldMkLst>
          <pc:docMk/>
          <pc:sldMk cId="1528243539" sldId="1833"/>
        </pc:sldMkLst>
        <pc:spChg chg="mod">
          <ac:chgData name="Ralf Widtmann" userId="09d9d7f3-f107-42d4-b184-e757b2b60523" providerId="ADAL" clId="{8DD5C42E-7D9F-4A9C-83EF-A19F1E988D79}" dt="2022-03-04T15:03:32.181" v="268" actId="20577"/>
          <ac:spMkLst>
            <pc:docMk/>
            <pc:sldMk cId="1528243539" sldId="1833"/>
            <ac:spMk id="2" creationId="{AB7F663C-CBF1-4F0E-A81B-7F1D7419DEE0}"/>
          </ac:spMkLst>
        </pc:spChg>
        <pc:spChg chg="add mod">
          <ac:chgData name="Ralf Widtmann" userId="09d9d7f3-f107-42d4-b184-e757b2b60523" providerId="ADAL" clId="{8DD5C42E-7D9F-4A9C-83EF-A19F1E988D79}" dt="2022-03-04T16:16:41.895" v="328" actId="14100"/>
          <ac:spMkLst>
            <pc:docMk/>
            <pc:sldMk cId="1528243539" sldId="1833"/>
            <ac:spMk id="3" creationId="{FD1F4E3C-E03F-46E8-87B4-74F6CC658256}"/>
          </ac:spMkLst>
        </pc:spChg>
        <pc:spChg chg="del">
          <ac:chgData name="Ralf Widtmann" userId="09d9d7f3-f107-42d4-b184-e757b2b60523" providerId="ADAL" clId="{8DD5C42E-7D9F-4A9C-83EF-A19F1E988D79}" dt="2022-03-04T13:49:00.995" v="143" actId="478"/>
          <ac:spMkLst>
            <pc:docMk/>
            <pc:sldMk cId="1528243539" sldId="1833"/>
            <ac:spMk id="5" creationId="{EFA911C9-A892-4BBE-BFE1-04C6C3CC6C7E}"/>
          </ac:spMkLst>
        </pc:spChg>
        <pc:spChg chg="del">
          <ac:chgData name="Ralf Widtmann" userId="09d9d7f3-f107-42d4-b184-e757b2b60523" providerId="ADAL" clId="{8DD5C42E-7D9F-4A9C-83EF-A19F1E988D79}" dt="2022-03-04T13:48:59.150" v="142" actId="478"/>
          <ac:spMkLst>
            <pc:docMk/>
            <pc:sldMk cId="1528243539" sldId="1833"/>
            <ac:spMk id="13" creationId="{815A6169-CB2F-4703-9D78-A2EF08D3134F}"/>
          </ac:spMkLst>
        </pc:spChg>
        <pc:spChg chg="add mod">
          <ac:chgData name="Ralf Widtmann" userId="09d9d7f3-f107-42d4-b184-e757b2b60523" providerId="ADAL" clId="{8DD5C42E-7D9F-4A9C-83EF-A19F1E988D79}" dt="2022-03-04T13:53:40.745" v="203" actId="554"/>
          <ac:spMkLst>
            <pc:docMk/>
            <pc:sldMk cId="1528243539" sldId="1833"/>
            <ac:spMk id="19" creationId="{FDB3D4F1-4FBC-4DFD-B1D7-6BBF4A9CC7DD}"/>
          </ac:spMkLst>
        </pc:spChg>
        <pc:spChg chg="mod">
          <ac:chgData name="Ralf Widtmann" userId="09d9d7f3-f107-42d4-b184-e757b2b60523" providerId="ADAL" clId="{8DD5C42E-7D9F-4A9C-83EF-A19F1E988D79}" dt="2022-03-04T13:53:40.745" v="203" actId="554"/>
          <ac:spMkLst>
            <pc:docMk/>
            <pc:sldMk cId="1528243539" sldId="1833"/>
            <ac:spMk id="20" creationId="{F9C85C1C-1BCB-4331-A730-A2E5729E725B}"/>
          </ac:spMkLst>
        </pc:spChg>
        <pc:spChg chg="del mod">
          <ac:chgData name="Ralf Widtmann" userId="09d9d7f3-f107-42d4-b184-e757b2b60523" providerId="ADAL" clId="{8DD5C42E-7D9F-4A9C-83EF-A19F1E988D79}" dt="2022-03-04T13:48:38.234" v="134" actId="478"/>
          <ac:spMkLst>
            <pc:docMk/>
            <pc:sldMk cId="1528243539" sldId="1833"/>
            <ac:spMk id="21" creationId="{D6F23FB9-7FE4-4AEB-9C06-FDEE4808252B}"/>
          </ac:spMkLst>
        </pc:spChg>
        <pc:spChg chg="mod">
          <ac:chgData name="Ralf Widtmann" userId="09d9d7f3-f107-42d4-b184-e757b2b60523" providerId="ADAL" clId="{8DD5C42E-7D9F-4A9C-83EF-A19F1E988D79}" dt="2022-03-04T13:53:40.745" v="203" actId="554"/>
          <ac:spMkLst>
            <pc:docMk/>
            <pc:sldMk cId="1528243539" sldId="1833"/>
            <ac:spMk id="22" creationId="{F0C2FBC6-BB18-4FBB-8880-029747186134}"/>
          </ac:spMkLst>
        </pc:spChg>
        <pc:spChg chg="del mod">
          <ac:chgData name="Ralf Widtmann" userId="09d9d7f3-f107-42d4-b184-e757b2b60523" providerId="ADAL" clId="{8DD5C42E-7D9F-4A9C-83EF-A19F1E988D79}" dt="2022-03-04T13:48:48.958" v="138" actId="478"/>
          <ac:spMkLst>
            <pc:docMk/>
            <pc:sldMk cId="1528243539" sldId="1833"/>
            <ac:spMk id="23" creationId="{D393D6D2-B70B-4AC8-BEA5-0F96A5F0E09F}"/>
          </ac:spMkLst>
        </pc:spChg>
        <pc:grpChg chg="del mod">
          <ac:chgData name="Ralf Widtmann" userId="09d9d7f3-f107-42d4-b184-e757b2b60523" providerId="ADAL" clId="{8DD5C42E-7D9F-4A9C-83EF-A19F1E988D79}" dt="2022-03-04T13:54:47.994" v="204" actId="478"/>
          <ac:grpSpMkLst>
            <pc:docMk/>
            <pc:sldMk cId="1528243539" sldId="1833"/>
            <ac:grpSpMk id="10" creationId="{1DF94CF8-6A71-486B-9700-D114A010CC8B}"/>
          </ac:grpSpMkLst>
        </pc:grpChg>
        <pc:picChg chg="mod">
          <ac:chgData name="Ralf Widtmann" userId="09d9d7f3-f107-42d4-b184-e757b2b60523" providerId="ADAL" clId="{8DD5C42E-7D9F-4A9C-83EF-A19F1E988D79}" dt="2022-03-04T13:53:31.229" v="201" actId="1076"/>
          <ac:picMkLst>
            <pc:docMk/>
            <pc:sldMk cId="1528243539" sldId="1833"/>
            <ac:picMk id="4" creationId="{0B916944-2C32-4AC2-BD08-A394ACF2096A}"/>
          </ac:picMkLst>
        </pc:picChg>
        <pc:picChg chg="del mod">
          <ac:chgData name="Ralf Widtmann" userId="09d9d7f3-f107-42d4-b184-e757b2b60523" providerId="ADAL" clId="{8DD5C42E-7D9F-4A9C-83EF-A19F1E988D79}" dt="2022-03-04T13:49:32.227" v="151" actId="478"/>
          <ac:picMkLst>
            <pc:docMk/>
            <pc:sldMk cId="1528243539" sldId="1833"/>
            <ac:picMk id="7" creationId="{EC2890C5-F5BF-44AA-9CBE-54F9398A16D8}"/>
          </ac:picMkLst>
        </pc:picChg>
        <pc:picChg chg="mod ord">
          <ac:chgData name="Ralf Widtmann" userId="09d9d7f3-f107-42d4-b184-e757b2b60523" providerId="ADAL" clId="{8DD5C42E-7D9F-4A9C-83EF-A19F1E988D79}" dt="2022-03-04T14:46:20.447" v="211" actId="166"/>
          <ac:picMkLst>
            <pc:docMk/>
            <pc:sldMk cId="1528243539" sldId="1833"/>
            <ac:picMk id="8" creationId="{83D4337B-7F9E-4562-80CC-C1D475EAEF60}"/>
          </ac:picMkLst>
        </pc:picChg>
        <pc:picChg chg="mod">
          <ac:chgData name="Ralf Widtmann" userId="09d9d7f3-f107-42d4-b184-e757b2b60523" providerId="ADAL" clId="{8DD5C42E-7D9F-4A9C-83EF-A19F1E988D79}" dt="2022-03-04T16:15:24.965" v="325" actId="14100"/>
          <ac:picMkLst>
            <pc:docMk/>
            <pc:sldMk cId="1528243539" sldId="1833"/>
            <ac:picMk id="15" creationId="{D08B45BE-EC60-4916-A786-4B852457FEDE}"/>
          </ac:picMkLst>
        </pc:picChg>
        <pc:picChg chg="add mod">
          <ac:chgData name="Ralf Widtmann" userId="09d9d7f3-f107-42d4-b184-e757b2b60523" providerId="ADAL" clId="{8DD5C42E-7D9F-4A9C-83EF-A19F1E988D79}" dt="2022-03-04T16:05:19.671" v="316" actId="14100"/>
          <ac:picMkLst>
            <pc:docMk/>
            <pc:sldMk cId="1528243539" sldId="1833"/>
            <ac:picMk id="16" creationId="{A3FD2319-E71B-4702-B5A6-99175E7848F9}"/>
          </ac:picMkLst>
        </pc:picChg>
        <pc:picChg chg="add del mod">
          <ac:chgData name="Ralf Widtmann" userId="09d9d7f3-f107-42d4-b184-e757b2b60523" providerId="ADAL" clId="{8DD5C42E-7D9F-4A9C-83EF-A19F1E988D79}" dt="2022-03-04T16:15:27.916" v="327" actId="14100"/>
          <ac:picMkLst>
            <pc:docMk/>
            <pc:sldMk cId="1528243539" sldId="1833"/>
            <ac:picMk id="17" creationId="{0BAF0893-568D-4011-9DB2-16860D763571}"/>
          </ac:picMkLst>
        </pc:picChg>
        <pc:picChg chg="mod">
          <ac:chgData name="Ralf Widtmann" userId="09d9d7f3-f107-42d4-b184-e757b2b60523" providerId="ADAL" clId="{8DD5C42E-7D9F-4A9C-83EF-A19F1E988D79}" dt="2022-03-04T13:49:57.728" v="164" actId="1076"/>
          <ac:picMkLst>
            <pc:docMk/>
            <pc:sldMk cId="1528243539" sldId="1833"/>
            <ac:picMk id="18" creationId="{18F2AFB6-53AA-4069-A25E-9455DA9631EE}"/>
          </ac:picMkLst>
        </pc:picChg>
        <pc:picChg chg="del mod">
          <ac:chgData name="Ralf Widtmann" userId="09d9d7f3-f107-42d4-b184-e757b2b60523" providerId="ADAL" clId="{8DD5C42E-7D9F-4A9C-83EF-A19F1E988D79}" dt="2022-03-04T13:48:02.396" v="104" actId="478"/>
          <ac:picMkLst>
            <pc:docMk/>
            <pc:sldMk cId="1528243539" sldId="1833"/>
            <ac:picMk id="24" creationId="{93B76D3F-A1FC-4CC3-AC27-34BCCF72545C}"/>
          </ac:picMkLst>
        </pc:picChg>
        <pc:picChg chg="add del mod">
          <ac:chgData name="Ralf Widtmann" userId="09d9d7f3-f107-42d4-b184-e757b2b60523" providerId="ADAL" clId="{8DD5C42E-7D9F-4A9C-83EF-A19F1E988D79}" dt="2022-03-04T13:49:18.805" v="147" actId="478"/>
          <ac:picMkLst>
            <pc:docMk/>
            <pc:sldMk cId="1528243539" sldId="1833"/>
            <ac:picMk id="25" creationId="{586FA1AF-E46A-4CD6-9462-5D42A1BE2C85}"/>
          </ac:picMkLst>
        </pc:picChg>
        <pc:picChg chg="add mod">
          <ac:chgData name="Ralf Widtmann" userId="09d9d7f3-f107-42d4-b184-e757b2b60523" providerId="ADAL" clId="{8DD5C42E-7D9F-4A9C-83EF-A19F1E988D79}" dt="2022-03-04T14:46:24.458" v="212" actId="1076"/>
          <ac:picMkLst>
            <pc:docMk/>
            <pc:sldMk cId="1528243539" sldId="1833"/>
            <ac:picMk id="26" creationId="{C1B492B6-E50E-4295-BDD6-0BDAE3D08FC3}"/>
          </ac:picMkLst>
        </pc:picChg>
        <pc:picChg chg="add del mod">
          <ac:chgData name="Ralf Widtmann" userId="09d9d7f3-f107-42d4-b184-e757b2b60523" providerId="ADAL" clId="{8DD5C42E-7D9F-4A9C-83EF-A19F1E988D79}" dt="2022-03-04T13:49:53.167" v="162" actId="478"/>
          <ac:picMkLst>
            <pc:docMk/>
            <pc:sldMk cId="1528243539" sldId="1833"/>
            <ac:picMk id="27" creationId="{3532DC20-0C3E-436C-B16B-D4CAB52DE4C5}"/>
          </ac:picMkLst>
        </pc:picChg>
        <pc:picChg chg="add mod">
          <ac:chgData name="Ralf Widtmann" userId="09d9d7f3-f107-42d4-b184-e757b2b60523" providerId="ADAL" clId="{8DD5C42E-7D9F-4A9C-83EF-A19F1E988D79}" dt="2022-03-04T14:46:16.649" v="210" actId="1076"/>
          <ac:picMkLst>
            <pc:docMk/>
            <pc:sldMk cId="1528243539" sldId="1833"/>
            <ac:picMk id="28" creationId="{A38BD3D2-092B-4451-B246-7377F0FE2501}"/>
          </ac:picMkLst>
        </pc:picChg>
        <pc:picChg chg="add mod">
          <ac:chgData name="Ralf Widtmann" userId="09d9d7f3-f107-42d4-b184-e757b2b60523" providerId="ADAL" clId="{8DD5C42E-7D9F-4A9C-83EF-A19F1E988D79}" dt="2022-03-04T13:54:51.445" v="206" actId="1076"/>
          <ac:picMkLst>
            <pc:docMk/>
            <pc:sldMk cId="1528243539" sldId="1833"/>
            <ac:picMk id="29" creationId="{2BC7AA90-6CA8-48CD-86CA-1BE94ED02257}"/>
          </ac:picMkLst>
        </pc:picChg>
        <pc:picChg chg="add mod">
          <ac:chgData name="Ralf Widtmann" userId="09d9d7f3-f107-42d4-b184-e757b2b60523" providerId="ADAL" clId="{8DD5C42E-7D9F-4A9C-83EF-A19F1E988D79}" dt="2022-03-04T13:54:52.724" v="207" actId="1076"/>
          <ac:picMkLst>
            <pc:docMk/>
            <pc:sldMk cId="1528243539" sldId="1833"/>
            <ac:picMk id="30" creationId="{F520645C-A819-477D-9FAD-914626D8E92E}"/>
          </ac:picMkLst>
        </pc:picChg>
      </pc:sldChg>
      <pc:sldChg chg="add del">
        <pc:chgData name="Ralf Widtmann" userId="09d9d7f3-f107-42d4-b184-e757b2b60523" providerId="ADAL" clId="{8DD5C42E-7D9F-4A9C-83EF-A19F1E988D79}" dt="2022-04-01T08:54:02.856" v="428" actId="47"/>
        <pc:sldMkLst>
          <pc:docMk/>
          <pc:sldMk cId="1295208327" sldId="1834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2016753350" sldId="1835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180634239" sldId="1836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2647463307" sldId="1837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364448737" sldId="1838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773730572" sldId="1839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331944433" sldId="1840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3673043908" sldId="1841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30682053" sldId="1842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858109279" sldId="1843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3818467117" sldId="1844"/>
        </pc:sldMkLst>
      </pc:sldChg>
      <pc:sldChg chg="add del">
        <pc:chgData name="Ralf Widtmann" userId="09d9d7f3-f107-42d4-b184-e757b2b60523" providerId="ADAL" clId="{8DD5C42E-7D9F-4A9C-83EF-A19F1E988D79}" dt="2022-03-04T13:44:49.483" v="18" actId="47"/>
        <pc:sldMkLst>
          <pc:docMk/>
          <pc:sldMk cId="122266336" sldId="1845"/>
        </pc:sldMkLst>
      </pc:sldChg>
    </pc:docChg>
  </pc:docChgLst>
  <pc:docChgLst>
    <pc:chgData name="Verena Riedling" userId="d10e34ac-92e3-4f08-910b-6757f237fa34" providerId="ADAL" clId="{3C8D06CB-7AE9-4946-8458-A334727ADD19}"/>
    <pc:docChg chg="custSel modSld">
      <pc:chgData name="Verena Riedling" userId="d10e34ac-92e3-4f08-910b-6757f237fa34" providerId="ADAL" clId="{3C8D06CB-7AE9-4946-8458-A334727ADD19}" dt="2022-04-04T14:01:22.060" v="76" actId="1037"/>
      <pc:docMkLst>
        <pc:docMk/>
      </pc:docMkLst>
      <pc:sldChg chg="addSp delSp modSp mod">
        <pc:chgData name="Verena Riedling" userId="d10e34ac-92e3-4f08-910b-6757f237fa34" providerId="ADAL" clId="{3C8D06CB-7AE9-4946-8458-A334727ADD19}" dt="2022-04-04T14:01:22.060" v="76" actId="1037"/>
        <pc:sldMkLst>
          <pc:docMk/>
          <pc:sldMk cId="203313787" sldId="1831"/>
        </pc:sldMkLst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17" creationId="{5D5BE062-8DA4-4BB0-8BBD-1F8CD0E498DB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28" creationId="{E07EAF93-F260-4FC4-A42E-A65C608628E9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1" creationId="{327E379B-6864-44C9-9E3A-5D0A665ACCEB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2" creationId="{620BAD9E-B054-4D33-9713-AB1B06FF1E29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5" creationId="{B6BE040C-C905-40B3-BFDE-4FE212052C54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7" creationId="{7CE78A1B-16D9-4217-A594-1F5901E0E73C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8" creationId="{8E5676BF-3404-4F11-8E1C-6D68EC5E777B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39" creationId="{CC904B68-B484-43B7-BBFF-594D8BA40A08}"/>
          </ac:spMkLst>
        </pc:spChg>
        <pc:spChg chg="mod">
          <ac:chgData name="Verena Riedling" userId="d10e34ac-92e3-4f08-910b-6757f237fa34" providerId="ADAL" clId="{3C8D06CB-7AE9-4946-8458-A334727ADD19}" dt="2022-04-04T14:01:22.060" v="76" actId="1037"/>
          <ac:spMkLst>
            <pc:docMk/>
            <pc:sldMk cId="203313787" sldId="1831"/>
            <ac:spMk id="47" creationId="{CB4A1835-2DDF-4089-B646-69462E642173}"/>
          </ac:spMkLst>
        </pc:sp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3" creationId="{26ACBC0A-7014-436C-9EA6-AB867F6518CB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6" creationId="{F5778C31-840E-444A-B983-88448754AAA5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22" creationId="{2809E828-AEAD-46B6-9882-EFD11CFC37F9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25" creationId="{FC5E10E1-F4F4-4B0E-93EA-511A58A8D087}"/>
          </ac:picMkLst>
        </pc:picChg>
        <pc:picChg chg="del mod">
          <ac:chgData name="Verena Riedling" userId="d10e34ac-92e3-4f08-910b-6757f237fa34" providerId="ADAL" clId="{3C8D06CB-7AE9-4946-8458-A334727ADD19}" dt="2022-04-04T14:00:26.196" v="56" actId="478"/>
          <ac:picMkLst>
            <pc:docMk/>
            <pc:sldMk cId="203313787" sldId="1831"/>
            <ac:picMk id="30" creationId="{1531E6F4-7CBF-4F14-85FA-3D71B4DEF512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33" creationId="{119F655F-40A1-4028-823D-D3FDDC8FD190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34" creationId="{72FA7D42-7037-4992-90EF-A27DCE05A178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36" creationId="{F4E32350-243E-436B-9000-5D0F351394EC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40" creationId="{2068DBC3-0B1D-4E88-89D4-5CE61FB6AB43}"/>
          </ac:picMkLst>
        </pc:picChg>
        <pc:picChg chg="add 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49" creationId="{7F5BAA4C-C5E7-423D-ABF1-DAF3BCDE1AF6}"/>
          </ac:picMkLst>
        </pc:picChg>
        <pc:picChg chg="mod">
          <ac:chgData name="Verena Riedling" userId="d10e34ac-92e3-4f08-910b-6757f237fa34" providerId="ADAL" clId="{3C8D06CB-7AE9-4946-8458-A334727ADD19}" dt="2022-04-04T14:01:22.060" v="76" actId="1037"/>
          <ac:picMkLst>
            <pc:docMk/>
            <pc:sldMk cId="203313787" sldId="1831"/>
            <ac:picMk id="50" creationId="{D4E90893-8062-4FF2-A6B6-177975EF0530}"/>
          </ac:picMkLst>
        </pc:pic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27" creationId="{3A4B4F96-4BAC-4E55-87CD-3011015F7CE6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1" creationId="{0DEB13FE-AD78-47AA-A8BE-4F37883A8691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2" creationId="{7A0CBBC3-DE92-489B-A45E-113A592783E5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3" creationId="{A4420AAB-0FBD-4DDD-B185-738DA11EE78A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4" creationId="{1C175AB8-182B-423C-A1C2-F736EFD742CF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5" creationId="{153E1DC0-A2E9-45F9-AD60-395CCD47B0E3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6" creationId="{7CE8256B-55D9-4E98-8678-CE8626F3B565}"/>
          </ac:cxnSpMkLst>
        </pc:cxnChg>
        <pc:cxnChg chg="mod">
          <ac:chgData name="Verena Riedling" userId="d10e34ac-92e3-4f08-910b-6757f237fa34" providerId="ADAL" clId="{3C8D06CB-7AE9-4946-8458-A334727ADD19}" dt="2022-04-04T14:01:22.060" v="76" actId="1037"/>
          <ac:cxnSpMkLst>
            <pc:docMk/>
            <pc:sldMk cId="203313787" sldId="1831"/>
            <ac:cxnSpMk id="48" creationId="{F810D8DD-6069-4894-AB9E-248E996C7262}"/>
          </ac:cxnSpMkLst>
        </pc:cxnChg>
      </pc:sldChg>
    </pc:docChg>
  </pc:docChgLst>
  <pc:docChgLst>
    <pc:chgData name="Sebastian Ratcliffe" userId="c64a2881-3456-4bca-832f-7adce3490f8a" providerId="ADAL" clId="{99DEA084-55E0-4F4B-9E2E-559003231870}"/>
    <pc:docChg chg="undo custSel modSld">
      <pc:chgData name="Sebastian Ratcliffe" userId="c64a2881-3456-4bca-832f-7adce3490f8a" providerId="ADAL" clId="{99DEA084-55E0-4F4B-9E2E-559003231870}" dt="2022-02-09T09:29:47.921" v="80" actId="478"/>
      <pc:docMkLst>
        <pc:docMk/>
      </pc:docMkLst>
      <pc:sldChg chg="addSp delSp modSp mod">
        <pc:chgData name="Sebastian Ratcliffe" userId="c64a2881-3456-4bca-832f-7adce3490f8a" providerId="ADAL" clId="{99DEA084-55E0-4F4B-9E2E-559003231870}" dt="2022-02-09T09:29:47.921" v="80" actId="478"/>
        <pc:sldMkLst>
          <pc:docMk/>
          <pc:sldMk cId="1429751050" sldId="704"/>
        </pc:sldMkLst>
        <pc:spChg chg="mod">
          <ac:chgData name="Sebastian Ratcliffe" userId="c64a2881-3456-4bca-832f-7adce3490f8a" providerId="ADAL" clId="{99DEA084-55E0-4F4B-9E2E-559003231870}" dt="2022-02-09T09:29:36.069" v="59" actId="20577"/>
          <ac:spMkLst>
            <pc:docMk/>
            <pc:sldMk cId="1429751050" sldId="704"/>
            <ac:spMk id="3" creationId="{10C942CB-3789-49AC-874F-CB80B08FCC0B}"/>
          </ac:spMkLst>
        </pc:spChg>
        <pc:spChg chg="add del">
          <ac:chgData name="Sebastian Ratcliffe" userId="c64a2881-3456-4bca-832f-7adce3490f8a" providerId="ADAL" clId="{99DEA084-55E0-4F4B-9E2E-559003231870}" dt="2022-02-09T09:28:40.770" v="1"/>
          <ac:spMkLst>
            <pc:docMk/>
            <pc:sldMk cId="1429751050" sldId="704"/>
            <ac:spMk id="4" creationId="{6EE99C10-89A0-468D-A6F2-F46A8739F34C}"/>
          </ac:spMkLst>
        </pc:spChg>
        <pc:spChg chg="mod">
          <ac:chgData name="Sebastian Ratcliffe" userId="c64a2881-3456-4bca-832f-7adce3490f8a" providerId="ADAL" clId="{99DEA084-55E0-4F4B-9E2E-559003231870}" dt="2022-02-09T09:29:03.752" v="12"/>
          <ac:spMkLst>
            <pc:docMk/>
            <pc:sldMk cId="1429751050" sldId="704"/>
            <ac:spMk id="7" creationId="{86B76F9F-2AFC-4A0C-BBB5-098F16CCCBD4}"/>
          </ac:spMkLst>
        </pc:spChg>
        <pc:picChg chg="add del mod">
          <ac:chgData name="Sebastian Ratcliffe" userId="c64a2881-3456-4bca-832f-7adce3490f8a" providerId="ADAL" clId="{99DEA084-55E0-4F4B-9E2E-559003231870}" dt="2022-02-09T09:29:47.921" v="80" actId="478"/>
          <ac:picMkLst>
            <pc:docMk/>
            <pc:sldMk cId="1429751050" sldId="704"/>
            <ac:picMk id="8" creationId="{B88D993E-5BF0-4741-886A-DA399F88651A}"/>
          </ac:picMkLst>
        </pc:picChg>
        <pc:picChg chg="add del mod">
          <ac:chgData name="Sebastian Ratcliffe" userId="c64a2881-3456-4bca-832f-7adce3490f8a" providerId="ADAL" clId="{99DEA084-55E0-4F4B-9E2E-559003231870}" dt="2022-02-09T09:29:43.048" v="76"/>
          <ac:picMkLst>
            <pc:docMk/>
            <pc:sldMk cId="1429751050" sldId="704"/>
            <ac:picMk id="38917" creationId="{F881706D-EB5A-43C0-9389-BBB85AFFD1D7}"/>
          </ac:picMkLst>
        </pc:picChg>
      </pc:sldChg>
    </pc:docChg>
  </pc:docChgLst>
  <pc:docChgLst>
    <pc:chgData name="Viktoria Hinz" userId="d41127ac-a411-4ad7-8d33-91a23e13dae5" providerId="ADAL" clId="{47C729D7-0582-4144-BB2F-143B4B35909A}"/>
    <pc:docChg chg="undo redo custSel addSld delSld modSld sldOrd modSection">
      <pc:chgData name="Viktoria Hinz" userId="d41127ac-a411-4ad7-8d33-91a23e13dae5" providerId="ADAL" clId="{47C729D7-0582-4144-BB2F-143B4B35909A}" dt="2022-04-01T06:35:34.188" v="295" actId="20577"/>
      <pc:docMkLst>
        <pc:docMk/>
      </pc:docMkLst>
      <pc:sldChg chg="modSp mod">
        <pc:chgData name="Viktoria Hinz" userId="d41127ac-a411-4ad7-8d33-91a23e13dae5" providerId="ADAL" clId="{47C729D7-0582-4144-BB2F-143B4B35909A}" dt="2022-04-01T06:35:34.188" v="295" actId="20577"/>
        <pc:sldMkLst>
          <pc:docMk/>
          <pc:sldMk cId="1429751050" sldId="704"/>
        </pc:sldMkLst>
        <pc:spChg chg="mod">
          <ac:chgData name="Viktoria Hinz" userId="d41127ac-a411-4ad7-8d33-91a23e13dae5" providerId="ADAL" clId="{47C729D7-0582-4144-BB2F-143B4B35909A}" dt="2022-04-01T06:35:34.188" v="295" actId="20577"/>
          <ac:spMkLst>
            <pc:docMk/>
            <pc:sldMk cId="1429751050" sldId="704"/>
            <ac:spMk id="7" creationId="{86B76F9F-2AFC-4A0C-BBB5-098F16CCCBD4}"/>
          </ac:spMkLst>
        </pc:spChg>
      </pc:sldChg>
      <pc:sldChg chg="addSp delSp add del mod">
        <pc:chgData name="Viktoria Hinz" userId="d41127ac-a411-4ad7-8d33-91a23e13dae5" providerId="ADAL" clId="{47C729D7-0582-4144-BB2F-143B4B35909A}" dt="2022-01-12T15:26:43.750" v="252"/>
        <pc:sldMkLst>
          <pc:docMk/>
          <pc:sldMk cId="3822146091" sldId="1289"/>
        </pc:sldMkLst>
        <pc:spChg chg="add del">
          <ac:chgData name="Viktoria Hinz" userId="d41127ac-a411-4ad7-8d33-91a23e13dae5" providerId="ADAL" clId="{47C729D7-0582-4144-BB2F-143B4B35909A}" dt="2021-10-13T13:49:16.583" v="1" actId="22"/>
          <ac:spMkLst>
            <pc:docMk/>
            <pc:sldMk cId="3822146091" sldId="1289"/>
            <ac:spMk id="52" creationId="{CCFEEA95-B18C-4D24-8289-6A95D15EE24C}"/>
          </ac:spMkLst>
        </pc:spChg>
      </pc:sldChg>
      <pc:sldChg chg="addSp delSp modSp mod">
        <pc:chgData name="Viktoria Hinz" userId="d41127ac-a411-4ad7-8d33-91a23e13dae5" providerId="ADAL" clId="{47C729D7-0582-4144-BB2F-143B4B35909A}" dt="2021-11-11T11:27:10.409" v="117" actId="14100"/>
        <pc:sldMkLst>
          <pc:docMk/>
          <pc:sldMk cId="172735708" sldId="1726"/>
        </pc:sldMkLst>
        <pc:spChg chg="add mod">
          <ac:chgData name="Viktoria Hinz" userId="d41127ac-a411-4ad7-8d33-91a23e13dae5" providerId="ADAL" clId="{47C729D7-0582-4144-BB2F-143B4B35909A}" dt="2021-11-09T15:39:40.212" v="106" actId="164"/>
          <ac:spMkLst>
            <pc:docMk/>
            <pc:sldMk cId="172735708" sldId="1726"/>
            <ac:spMk id="5" creationId="{2BB8AF66-A2FA-4459-B731-0C9846A85A39}"/>
          </ac:spMkLst>
        </pc:spChg>
        <pc:grpChg chg="add mod">
          <ac:chgData name="Viktoria Hinz" userId="d41127ac-a411-4ad7-8d33-91a23e13dae5" providerId="ADAL" clId="{47C729D7-0582-4144-BB2F-143B4B35909A}" dt="2021-11-11T11:27:10.409" v="117" actId="14100"/>
          <ac:grpSpMkLst>
            <pc:docMk/>
            <pc:sldMk cId="172735708" sldId="1726"/>
            <ac:grpSpMk id="6" creationId="{171DE86D-FDDA-4317-8C02-1CF03F41CE2C}"/>
          </ac:grpSpMkLst>
        </pc:grpChg>
        <pc:picChg chg="mod">
          <ac:chgData name="Viktoria Hinz" userId="d41127ac-a411-4ad7-8d33-91a23e13dae5" providerId="ADAL" clId="{47C729D7-0582-4144-BB2F-143B4B35909A}" dt="2021-11-11T11:26:49.256" v="115" actId="1076"/>
          <ac:picMkLst>
            <pc:docMk/>
            <pc:sldMk cId="172735708" sldId="1726"/>
            <ac:picMk id="8" creationId="{230073DA-12C3-4E3D-96D2-908B84E1C15C}"/>
          </ac:picMkLst>
        </pc:picChg>
        <pc:picChg chg="add mod">
          <ac:chgData name="Viktoria Hinz" userId="d41127ac-a411-4ad7-8d33-91a23e13dae5" providerId="ADAL" clId="{47C729D7-0582-4144-BB2F-143B4B35909A}" dt="2021-11-09T15:39:40.212" v="106" actId="164"/>
          <ac:picMkLst>
            <pc:docMk/>
            <pc:sldMk cId="172735708" sldId="1726"/>
            <ac:picMk id="9" creationId="{564DAE61-642A-4A11-9877-AAF83BF41CB9}"/>
          </ac:picMkLst>
        </pc:picChg>
        <pc:picChg chg="del">
          <ac:chgData name="Viktoria Hinz" userId="d41127ac-a411-4ad7-8d33-91a23e13dae5" providerId="ADAL" clId="{47C729D7-0582-4144-BB2F-143B4B35909A}" dt="2021-11-02T11:52:40.238" v="90" actId="478"/>
          <ac:picMkLst>
            <pc:docMk/>
            <pc:sldMk cId="172735708" sldId="1726"/>
            <ac:picMk id="10" creationId="{9C0048A7-34AB-4616-B60F-578BF5A13D99}"/>
          </ac:picMkLst>
        </pc:picChg>
      </pc:sldChg>
      <pc:sldChg chg="modSp mod">
        <pc:chgData name="Viktoria Hinz" userId="d41127ac-a411-4ad7-8d33-91a23e13dae5" providerId="ADAL" clId="{47C729D7-0582-4144-BB2F-143B4B35909A}" dt="2022-01-26T12:31:19.103" v="262" actId="20577"/>
        <pc:sldMkLst>
          <pc:docMk/>
          <pc:sldMk cId="871657614" sldId="1731"/>
        </pc:sldMkLst>
        <pc:spChg chg="mod">
          <ac:chgData name="Viktoria Hinz" userId="d41127ac-a411-4ad7-8d33-91a23e13dae5" providerId="ADAL" clId="{47C729D7-0582-4144-BB2F-143B4B35909A}" dt="2022-01-26T12:31:19.103" v="262" actId="20577"/>
          <ac:spMkLst>
            <pc:docMk/>
            <pc:sldMk cId="871657614" sldId="1731"/>
            <ac:spMk id="25" creationId="{A17B90FC-BEA3-4C52-9F31-55E581B18B10}"/>
          </ac:spMkLst>
        </pc:spChg>
        <pc:spChg chg="mod">
          <ac:chgData name="Viktoria Hinz" userId="d41127ac-a411-4ad7-8d33-91a23e13dae5" providerId="ADAL" clId="{47C729D7-0582-4144-BB2F-143B4B35909A}" dt="2022-01-26T12:31:10.645" v="256" actId="20577"/>
          <ac:spMkLst>
            <pc:docMk/>
            <pc:sldMk cId="871657614" sldId="1731"/>
            <ac:spMk id="26" creationId="{20018CA6-376D-4FC2-89EE-4043DC7D275F}"/>
          </ac:spMkLst>
        </pc:spChg>
      </pc:sldChg>
      <pc:sldChg chg="del">
        <pc:chgData name="Viktoria Hinz" userId="d41127ac-a411-4ad7-8d33-91a23e13dae5" providerId="ADAL" clId="{47C729D7-0582-4144-BB2F-143B4B35909A}" dt="2021-10-20T11:02:10.756" v="83" actId="47"/>
        <pc:sldMkLst>
          <pc:docMk/>
          <pc:sldMk cId="1504119002" sldId="1733"/>
        </pc:sldMkLst>
      </pc:sldChg>
      <pc:sldChg chg="del">
        <pc:chgData name="Viktoria Hinz" userId="d41127ac-a411-4ad7-8d33-91a23e13dae5" providerId="ADAL" clId="{47C729D7-0582-4144-BB2F-143B4B35909A}" dt="2021-11-02T13:08:54.885" v="97" actId="47"/>
        <pc:sldMkLst>
          <pc:docMk/>
          <pc:sldMk cId="1856924960" sldId="1742"/>
        </pc:sldMkLst>
      </pc:sldChg>
      <pc:sldChg chg="add del">
        <pc:chgData name="Viktoria Hinz" userId="d41127ac-a411-4ad7-8d33-91a23e13dae5" providerId="ADAL" clId="{47C729D7-0582-4144-BB2F-143B4B35909A}" dt="2022-01-12T15:26:43.750" v="252"/>
        <pc:sldMkLst>
          <pc:docMk/>
          <pc:sldMk cId="242745919" sldId="1743"/>
        </pc:sldMkLst>
      </pc:sldChg>
      <pc:sldChg chg="modSp mod">
        <pc:chgData name="Viktoria Hinz" userId="d41127ac-a411-4ad7-8d33-91a23e13dae5" providerId="ADAL" clId="{47C729D7-0582-4144-BB2F-143B4B35909A}" dt="2022-01-05T08:29:58.450" v="230" actId="20577"/>
        <pc:sldMkLst>
          <pc:docMk/>
          <pc:sldMk cId="2548184042" sldId="1747"/>
        </pc:sldMkLst>
        <pc:spChg chg="mod">
          <ac:chgData name="Viktoria Hinz" userId="d41127ac-a411-4ad7-8d33-91a23e13dae5" providerId="ADAL" clId="{47C729D7-0582-4144-BB2F-143B4B35909A}" dt="2022-01-05T08:29:58.450" v="230" actId="20577"/>
          <ac:spMkLst>
            <pc:docMk/>
            <pc:sldMk cId="2548184042" sldId="1747"/>
            <ac:spMk id="6" creationId="{F957F0AE-B874-4452-93B2-C425AF6BCE33}"/>
          </ac:spMkLst>
        </pc:spChg>
      </pc:sldChg>
      <pc:sldChg chg="del">
        <pc:chgData name="Viktoria Hinz" userId="d41127ac-a411-4ad7-8d33-91a23e13dae5" providerId="ADAL" clId="{47C729D7-0582-4144-BB2F-143B4B35909A}" dt="2021-11-29T16:01:19.368" v="119" actId="47"/>
        <pc:sldMkLst>
          <pc:docMk/>
          <pc:sldMk cId="630431165" sldId="1748"/>
        </pc:sldMkLst>
      </pc:sldChg>
      <pc:sldChg chg="addSp delSp modSp add del mod">
        <pc:chgData name="Viktoria Hinz" userId="d41127ac-a411-4ad7-8d33-91a23e13dae5" providerId="ADAL" clId="{47C729D7-0582-4144-BB2F-143B4B35909A}" dt="2021-10-13T13:52:14.243" v="80" actId="47"/>
        <pc:sldMkLst>
          <pc:docMk/>
          <pc:sldMk cId="3350997190" sldId="1749"/>
        </pc:sldMkLst>
        <pc:spChg chg="add del mod">
          <ac:chgData name="Viktoria Hinz" userId="d41127ac-a411-4ad7-8d33-91a23e13dae5" providerId="ADAL" clId="{47C729D7-0582-4144-BB2F-143B4B35909A}" dt="2021-10-13T13:52:05.690" v="71" actId="14100"/>
          <ac:spMkLst>
            <pc:docMk/>
            <pc:sldMk cId="3350997190" sldId="1749"/>
            <ac:spMk id="2" creationId="{C0F9EE05-305C-43C1-95DB-CB893F9999E1}"/>
          </ac:spMkLst>
        </pc:spChg>
        <pc:spChg chg="del">
          <ac:chgData name="Viktoria Hinz" userId="d41127ac-a411-4ad7-8d33-91a23e13dae5" providerId="ADAL" clId="{47C729D7-0582-4144-BB2F-143B4B35909A}" dt="2021-10-13T13:49:33.192" v="5" actId="478"/>
          <ac:spMkLst>
            <pc:docMk/>
            <pc:sldMk cId="3350997190" sldId="1749"/>
            <ac:spMk id="42" creationId="{D48D3375-8908-471E-A935-C1840C3D20E9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43" creationId="{A643ED07-7949-49BD-9D9A-C4CB9EB4C655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44" creationId="{D2CD0408-B959-4607-A8B4-271D69015D9D}"/>
          </ac:spMkLst>
        </pc:spChg>
        <pc:spChg chg="del">
          <ac:chgData name="Viktoria Hinz" userId="d41127ac-a411-4ad7-8d33-91a23e13dae5" providerId="ADAL" clId="{47C729D7-0582-4144-BB2F-143B4B35909A}" dt="2021-10-13T13:49:28.814" v="4" actId="478"/>
          <ac:spMkLst>
            <pc:docMk/>
            <pc:sldMk cId="3350997190" sldId="1749"/>
            <ac:spMk id="45" creationId="{AC4DB40B-8BF1-4703-9BEF-09EF131580D0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46" creationId="{3B12DEA8-41CA-44F8-A933-27A2721A93CE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49" creationId="{A0FEB235-7DB6-4A32-826A-7309536A440A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0" creationId="{98F39204-DEF4-4F18-8EFF-EF46F411A0AE}"/>
          </ac:spMkLst>
        </pc:spChg>
        <pc:spChg chg="add mod">
          <ac:chgData name="Viktoria Hinz" userId="d41127ac-a411-4ad7-8d33-91a23e13dae5" providerId="ADAL" clId="{47C729D7-0582-4144-BB2F-143B4B35909A}" dt="2021-10-13T13:52:05.158" v="68" actId="1076"/>
          <ac:spMkLst>
            <pc:docMk/>
            <pc:sldMk cId="3350997190" sldId="1749"/>
            <ac:spMk id="52" creationId="{CB7C3024-B8F9-4D93-B5E9-7F19818916A4}"/>
          </ac:spMkLst>
        </pc:spChg>
        <pc:spChg chg="add del mod">
          <ac:chgData name="Viktoria Hinz" userId="d41127ac-a411-4ad7-8d33-91a23e13dae5" providerId="ADAL" clId="{47C729D7-0582-4144-BB2F-143B4B35909A}" dt="2021-10-13T13:52:07.681" v="78" actId="478"/>
          <ac:spMkLst>
            <pc:docMk/>
            <pc:sldMk cId="3350997190" sldId="1749"/>
            <ac:spMk id="53" creationId="{009C103D-F8A0-476F-A5E3-80CA636C395E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4" creationId="{D599863A-60C0-47BE-9BFB-66D423CF4987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5" creationId="{7D212B72-7D3F-4DF8-A78F-7105D8A9FD12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6" creationId="{B030C345-E129-48C7-B5A1-876FEC05EA68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7" creationId="{31BBA0EF-F462-45C4-86AD-ED61E70A516E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58" creationId="{CA8A0534-178F-4ADD-8D91-8FF706E11098}"/>
          </ac:spMkLst>
        </pc:spChg>
        <pc:spChg chg="add del mod">
          <ac:chgData name="Viktoria Hinz" userId="d41127ac-a411-4ad7-8d33-91a23e13dae5" providerId="ADAL" clId="{47C729D7-0582-4144-BB2F-143B4B35909A}" dt="2021-10-13T13:52:09.540" v="79" actId="478"/>
          <ac:spMkLst>
            <pc:docMk/>
            <pc:sldMk cId="3350997190" sldId="1749"/>
            <ac:spMk id="59" creationId="{32EBB0B0-5A44-4116-B27E-0F1738EF26F7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62" creationId="{94CE7FD1-CB80-4135-A832-7F8B6C37B7F5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63" creationId="{36B30805-A599-4BDE-88A9-18754FEEF258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65" creationId="{BF52297A-267E-41B7-B876-2442979FC768}"/>
          </ac:spMkLst>
        </pc:spChg>
        <pc:spChg chg="add del mod">
          <ac:chgData name="Viktoria Hinz" userId="d41127ac-a411-4ad7-8d33-91a23e13dae5" providerId="ADAL" clId="{47C729D7-0582-4144-BB2F-143B4B35909A}" dt="2021-10-13T13:51:23.861" v="33"/>
          <ac:spMkLst>
            <pc:docMk/>
            <pc:sldMk cId="3350997190" sldId="1749"/>
            <ac:spMk id="66" creationId="{7357137E-C47E-44F4-B06D-FEE8187CC175}"/>
          </ac:spMkLst>
        </pc:spChg>
        <pc:spChg chg="add del mod">
          <ac:chgData name="Viktoria Hinz" userId="d41127ac-a411-4ad7-8d33-91a23e13dae5" providerId="ADAL" clId="{47C729D7-0582-4144-BB2F-143B4B35909A}" dt="2021-10-13T13:52:06.760" v="75" actId="478"/>
          <ac:spMkLst>
            <pc:docMk/>
            <pc:sldMk cId="3350997190" sldId="1749"/>
            <ac:spMk id="67" creationId="{1AACE95F-AF6F-44E6-B1D5-3D75CF520BDA}"/>
          </ac:spMkLst>
        </pc:spChg>
        <pc:spChg chg="add del mod">
          <ac:chgData name="Viktoria Hinz" userId="d41127ac-a411-4ad7-8d33-91a23e13dae5" providerId="ADAL" clId="{47C729D7-0582-4144-BB2F-143B4B35909A}" dt="2021-10-13T13:52:07.148" v="77" actId="1076"/>
          <ac:spMkLst>
            <pc:docMk/>
            <pc:sldMk cId="3350997190" sldId="1749"/>
            <ac:spMk id="68" creationId="{FADE60CF-822E-47AD-A50E-FFDB83B5A058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73" creationId="{1EA7A073-8AFE-4F77-AD5C-328D8C0C6ECD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76" creationId="{089B0501-DC8A-4D72-B550-32B18283A527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77" creationId="{694D82D8-8645-4944-B77F-1F8DD32A377E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79" creationId="{854275C1-B3B1-4C11-8EA7-1890A0E2B505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80" creationId="{575FB9A8-D18D-4A4B-BB93-D64FA7675967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83" creationId="{F869EC9D-0EAD-4587-90F0-C667CA171647}"/>
          </ac:spMkLst>
        </pc:spChg>
        <pc:spChg chg="del">
          <ac:chgData name="Viktoria Hinz" userId="d41127ac-a411-4ad7-8d33-91a23e13dae5" providerId="ADAL" clId="{47C729D7-0582-4144-BB2F-143B4B35909A}" dt="2021-10-13T13:49:39.114" v="7" actId="478"/>
          <ac:spMkLst>
            <pc:docMk/>
            <pc:sldMk cId="3350997190" sldId="1749"/>
            <ac:spMk id="87" creationId="{6AD34DEA-B908-43CB-B179-A324DAD5272A}"/>
          </ac:spMkLst>
        </pc:spChg>
        <pc:spChg chg="del">
          <ac:chgData name="Viktoria Hinz" userId="d41127ac-a411-4ad7-8d33-91a23e13dae5" providerId="ADAL" clId="{47C729D7-0582-4144-BB2F-143B4B35909A}" dt="2021-10-13T13:49:26.509" v="3" actId="478"/>
          <ac:spMkLst>
            <pc:docMk/>
            <pc:sldMk cId="3350997190" sldId="1749"/>
            <ac:spMk id="88" creationId="{8418FB8D-F775-45AE-A88E-FAF5223E6B77}"/>
          </ac:spMkLst>
        </pc:spChg>
        <pc:spChg chg="del">
          <ac:chgData name="Viktoria Hinz" userId="d41127ac-a411-4ad7-8d33-91a23e13dae5" providerId="ADAL" clId="{47C729D7-0582-4144-BB2F-143B4B35909A}" dt="2021-10-13T13:49:28.814" v="4" actId="478"/>
          <ac:spMkLst>
            <pc:docMk/>
            <pc:sldMk cId="3350997190" sldId="1749"/>
            <ac:spMk id="89" creationId="{4D5D0C88-163A-4A82-8A49-F0D77CFB0DA6}"/>
          </ac:spMkLst>
        </pc:spChg>
        <pc:picChg chg="del">
          <ac:chgData name="Viktoria Hinz" userId="d41127ac-a411-4ad7-8d33-91a23e13dae5" providerId="ADAL" clId="{47C729D7-0582-4144-BB2F-143B4B35909A}" dt="2021-10-13T13:49:36.378" v="6" actId="478"/>
          <ac:picMkLst>
            <pc:docMk/>
            <pc:sldMk cId="3350997190" sldId="1749"/>
            <ac:picMk id="40" creationId="{2EF7181D-27CB-4599-AADB-8321D18520C3}"/>
          </ac:picMkLst>
        </pc:picChg>
        <pc:picChg chg="del">
          <ac:chgData name="Viktoria Hinz" userId="d41127ac-a411-4ad7-8d33-91a23e13dae5" providerId="ADAL" clId="{47C729D7-0582-4144-BB2F-143B4B35909A}" dt="2021-10-13T13:49:26.509" v="3" actId="478"/>
          <ac:picMkLst>
            <pc:docMk/>
            <pc:sldMk cId="3350997190" sldId="1749"/>
            <ac:picMk id="41" creationId="{E2B3069C-64CF-4C57-AE5C-D58BF1C4C2F9}"/>
          </ac:picMkLst>
        </pc:picChg>
        <pc:cxnChg chg="del">
          <ac:chgData name="Viktoria Hinz" userId="d41127ac-a411-4ad7-8d33-91a23e13dae5" providerId="ADAL" clId="{47C729D7-0582-4144-BB2F-143B4B35909A}" dt="2021-10-13T13:49:28.814" v="4" actId="478"/>
          <ac:cxnSpMkLst>
            <pc:docMk/>
            <pc:sldMk cId="3350997190" sldId="1749"/>
            <ac:cxnSpMk id="47" creationId="{FA35903E-A488-46EB-ABDC-81A523330566}"/>
          </ac:cxnSpMkLst>
        </pc:cxnChg>
        <pc:cxnChg chg="del">
          <ac:chgData name="Viktoria Hinz" userId="d41127ac-a411-4ad7-8d33-91a23e13dae5" providerId="ADAL" clId="{47C729D7-0582-4144-BB2F-143B4B35909A}" dt="2021-10-13T13:49:28.814" v="4" actId="478"/>
          <ac:cxnSpMkLst>
            <pc:docMk/>
            <pc:sldMk cId="3350997190" sldId="1749"/>
            <ac:cxnSpMk id="48" creationId="{15532C04-4EFF-4BBC-8994-38EA084F6C5A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51" creationId="{D95FA245-D1C3-43CF-A985-A0E53C49766C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60" creationId="{8527D624-F68A-42AA-A853-9F05B95F1513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61" creationId="{0B4F3612-5FC1-4E81-B95E-940109DFF22A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64" creationId="{132866D5-AB0D-48D9-B9EA-56128FC3999A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78" creationId="{4768D0FB-4094-4A5C-BDC6-16E82918333C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81" creationId="{0310C95F-9941-422A-B3EE-1F1BFAA5A642}"/>
          </ac:cxnSpMkLst>
        </pc:cxnChg>
        <pc:cxnChg chg="del">
          <ac:chgData name="Viktoria Hinz" userId="d41127ac-a411-4ad7-8d33-91a23e13dae5" providerId="ADAL" clId="{47C729D7-0582-4144-BB2F-143B4B35909A}" dt="2021-10-13T13:49:26.509" v="3" actId="478"/>
          <ac:cxnSpMkLst>
            <pc:docMk/>
            <pc:sldMk cId="3350997190" sldId="1749"/>
            <ac:cxnSpMk id="82" creationId="{86028D2E-40B9-4584-992E-F9287C47E40E}"/>
          </ac:cxnSpMkLst>
        </pc:cxnChg>
      </pc:sldChg>
      <pc:sldChg chg="modSp mod">
        <pc:chgData name="Viktoria Hinz" userId="d41127ac-a411-4ad7-8d33-91a23e13dae5" providerId="ADAL" clId="{47C729D7-0582-4144-BB2F-143B4B35909A}" dt="2022-03-04T16:03:44.210" v="288" actId="790"/>
        <pc:sldMkLst>
          <pc:docMk/>
          <pc:sldMk cId="131805063" sldId="1751"/>
        </pc:sldMkLst>
        <pc:spChg chg="mod">
          <ac:chgData name="Viktoria Hinz" userId="d41127ac-a411-4ad7-8d33-91a23e13dae5" providerId="ADAL" clId="{47C729D7-0582-4144-BB2F-143B4B35909A}" dt="2022-03-04T16:03:44.210" v="288" actId="790"/>
          <ac:spMkLst>
            <pc:docMk/>
            <pc:sldMk cId="131805063" sldId="1751"/>
            <ac:spMk id="2" creationId="{E60740C7-D8D6-4F0C-AA24-00D3E695007D}"/>
          </ac:spMkLst>
        </pc:spChg>
      </pc:sldChg>
      <pc:sldChg chg="add del">
        <pc:chgData name="Viktoria Hinz" userId="d41127ac-a411-4ad7-8d33-91a23e13dae5" providerId="ADAL" clId="{47C729D7-0582-4144-BB2F-143B4B35909A}" dt="2022-01-12T15:26:43.750" v="252"/>
        <pc:sldMkLst>
          <pc:docMk/>
          <pc:sldMk cId="982637952" sldId="1766"/>
        </pc:sldMkLst>
      </pc:sldChg>
      <pc:sldChg chg="delSp add mod ord">
        <pc:chgData name="Viktoria Hinz" userId="d41127ac-a411-4ad7-8d33-91a23e13dae5" providerId="ADAL" clId="{47C729D7-0582-4144-BB2F-143B4B35909A}" dt="2022-01-12T15:26:43.460" v="251" actId="20578"/>
        <pc:sldMkLst>
          <pc:docMk/>
          <pc:sldMk cId="2652462838" sldId="1774"/>
        </pc:sldMkLst>
        <pc:spChg chg="del">
          <ac:chgData name="Viktoria Hinz" userId="d41127ac-a411-4ad7-8d33-91a23e13dae5" providerId="ADAL" clId="{47C729D7-0582-4144-BB2F-143B4B35909A}" dt="2021-10-20T11:02:00.831" v="82" actId="478"/>
          <ac:spMkLst>
            <pc:docMk/>
            <pc:sldMk cId="2652462838" sldId="1774"/>
            <ac:spMk id="26" creationId="{3D2C67CE-2A73-445A-AB98-1F7DF06E6919}"/>
          </ac:spMkLst>
        </pc:spChg>
      </pc:sldChg>
      <pc:sldChg chg="addSp delSp modSp add mod ord modNotesTx">
        <pc:chgData name="Viktoria Hinz" userId="d41127ac-a411-4ad7-8d33-91a23e13dae5" providerId="ADAL" clId="{47C729D7-0582-4144-BB2F-143B4B35909A}" dt="2022-01-12T15:26:41.876" v="247" actId="20578"/>
        <pc:sldMkLst>
          <pc:docMk/>
          <pc:sldMk cId="292495921" sldId="1780"/>
        </pc:sldMkLst>
        <pc:spChg chg="add mod">
          <ac:chgData name="Viktoria Hinz" userId="d41127ac-a411-4ad7-8d33-91a23e13dae5" providerId="ADAL" clId="{47C729D7-0582-4144-BB2F-143B4B35909A}" dt="2021-11-09T15:38:39.826" v="102" actId="164"/>
          <ac:spMkLst>
            <pc:docMk/>
            <pc:sldMk cId="292495921" sldId="1780"/>
            <ac:spMk id="4" creationId="{0037E2D5-0101-4B39-A340-C7A3D85271A6}"/>
          </ac:spMkLst>
        </pc:spChg>
        <pc:spChg chg="add mod">
          <ac:chgData name="Viktoria Hinz" userId="d41127ac-a411-4ad7-8d33-91a23e13dae5" providerId="ADAL" clId="{47C729D7-0582-4144-BB2F-143B4B35909A}" dt="2021-12-07T11:47:49.609" v="213" actId="1076"/>
          <ac:spMkLst>
            <pc:docMk/>
            <pc:sldMk cId="292495921" sldId="1780"/>
            <ac:spMk id="24" creationId="{C5A875C4-FB46-4427-8B87-F320E07AA289}"/>
          </ac:spMkLst>
        </pc:spChg>
        <pc:grpChg chg="add mod">
          <ac:chgData name="Viktoria Hinz" userId="d41127ac-a411-4ad7-8d33-91a23e13dae5" providerId="ADAL" clId="{47C729D7-0582-4144-BB2F-143B4B35909A}" dt="2021-11-09T15:38:39.826" v="102" actId="164"/>
          <ac:grpSpMkLst>
            <pc:docMk/>
            <pc:sldMk cId="292495921" sldId="1780"/>
            <ac:grpSpMk id="5" creationId="{2E58EE96-25DF-477F-AB44-CAEF6F6B7ADE}"/>
          </ac:grpSpMkLst>
        </pc:grpChg>
        <pc:picChg chg="add mod">
          <ac:chgData name="Viktoria Hinz" userId="d41127ac-a411-4ad7-8d33-91a23e13dae5" providerId="ADAL" clId="{47C729D7-0582-4144-BB2F-143B4B35909A}" dt="2021-12-01T10:24:00.315" v="154" actId="1035"/>
          <ac:picMkLst>
            <pc:docMk/>
            <pc:sldMk cId="292495921" sldId="1780"/>
            <ac:picMk id="8" creationId="{8053E348-18D7-4C0D-83C7-6BC6CC5EFB7C}"/>
          </ac:picMkLst>
        </pc:picChg>
        <pc:picChg chg="mod">
          <ac:chgData name="Viktoria Hinz" userId="d41127ac-a411-4ad7-8d33-91a23e13dae5" providerId="ADAL" clId="{47C729D7-0582-4144-BB2F-143B4B35909A}" dt="2021-11-09T15:38:39.826" v="102" actId="164"/>
          <ac:picMkLst>
            <pc:docMk/>
            <pc:sldMk cId="292495921" sldId="1780"/>
            <ac:picMk id="18" creationId="{437C81D8-8D6A-4F32-8F74-55D9673B4A5B}"/>
          </ac:picMkLst>
        </pc:picChg>
        <pc:picChg chg="del">
          <ac:chgData name="Viktoria Hinz" userId="d41127ac-a411-4ad7-8d33-91a23e13dae5" providerId="ADAL" clId="{47C729D7-0582-4144-BB2F-143B4B35909A}" dt="2021-12-01T10:23:57.422" v="146" actId="478"/>
          <ac:picMkLst>
            <pc:docMk/>
            <pc:sldMk cId="292495921" sldId="1780"/>
            <ac:picMk id="24" creationId="{6FB84722-AF95-46AB-B6B6-1D3ED5DF762E}"/>
          </ac:picMkLst>
        </pc:picChg>
      </pc:sldChg>
      <pc:sldChg chg="add ord modNotesTx">
        <pc:chgData name="Viktoria Hinz" userId="d41127ac-a411-4ad7-8d33-91a23e13dae5" providerId="ADAL" clId="{47C729D7-0582-4144-BB2F-143B4B35909A}" dt="2022-01-27T11:30:37.009" v="281" actId="6549"/>
        <pc:sldMkLst>
          <pc:docMk/>
          <pc:sldMk cId="2061451370" sldId="1781"/>
        </pc:sldMkLst>
      </pc:sldChg>
      <pc:sldChg chg="addSp modSp add mod">
        <pc:chgData name="Viktoria Hinz" userId="d41127ac-a411-4ad7-8d33-91a23e13dae5" providerId="ADAL" clId="{47C729D7-0582-4144-BB2F-143B4B35909A}" dt="2022-01-05T08:31:53.640" v="235" actId="20577"/>
        <pc:sldMkLst>
          <pc:docMk/>
          <pc:sldMk cId="2000218109" sldId="1824"/>
        </pc:sldMkLst>
        <pc:spChg chg="mod">
          <ac:chgData name="Viktoria Hinz" userId="d41127ac-a411-4ad7-8d33-91a23e13dae5" providerId="ADAL" clId="{47C729D7-0582-4144-BB2F-143B4B35909A}" dt="2022-01-05T08:31:53.640" v="235" actId="20577"/>
          <ac:spMkLst>
            <pc:docMk/>
            <pc:sldMk cId="2000218109" sldId="1824"/>
            <ac:spMk id="2" creationId="{0116745D-A776-4322-BACF-B8F318B365C7}"/>
          </ac:spMkLst>
        </pc:spChg>
        <pc:picChg chg="add mod">
          <ac:chgData name="Viktoria Hinz" userId="d41127ac-a411-4ad7-8d33-91a23e13dae5" providerId="ADAL" clId="{47C729D7-0582-4144-BB2F-143B4B35909A}" dt="2021-12-06T06:45:53.769" v="205" actId="1076"/>
          <ac:picMkLst>
            <pc:docMk/>
            <pc:sldMk cId="2000218109" sldId="1824"/>
            <ac:picMk id="5" creationId="{B1591762-4082-4A3E-9A65-08AD14243EE7}"/>
          </ac:picMkLst>
        </pc:picChg>
        <pc:picChg chg="mod">
          <ac:chgData name="Viktoria Hinz" userId="d41127ac-a411-4ad7-8d33-91a23e13dae5" providerId="ADAL" clId="{47C729D7-0582-4144-BB2F-143B4B35909A}" dt="2021-12-06T06:40:16.611" v="186" actId="1076"/>
          <ac:picMkLst>
            <pc:docMk/>
            <pc:sldMk cId="2000218109" sldId="1824"/>
            <ac:picMk id="7" creationId="{7CE20B51-5F65-4F33-8376-1E1BBC906B7A}"/>
          </ac:picMkLst>
        </pc:picChg>
        <pc:picChg chg="mod">
          <ac:chgData name="Viktoria Hinz" userId="d41127ac-a411-4ad7-8d33-91a23e13dae5" providerId="ADAL" clId="{47C729D7-0582-4144-BB2F-143B4B35909A}" dt="2021-12-06T06:40:08.348" v="184" actId="1076"/>
          <ac:picMkLst>
            <pc:docMk/>
            <pc:sldMk cId="2000218109" sldId="1824"/>
            <ac:picMk id="27" creationId="{327B81D9-8BD0-43AE-B960-4BFDB76D6A33}"/>
          </ac:picMkLst>
        </pc:picChg>
        <pc:picChg chg="mod">
          <ac:chgData name="Viktoria Hinz" userId="d41127ac-a411-4ad7-8d33-91a23e13dae5" providerId="ADAL" clId="{47C729D7-0582-4144-BB2F-143B4B35909A}" dt="2021-12-06T06:40:55.063" v="202" actId="1076"/>
          <ac:picMkLst>
            <pc:docMk/>
            <pc:sldMk cId="2000218109" sldId="1824"/>
            <ac:picMk id="33" creationId="{B039C10D-73EC-4BCA-946E-2472C4E3C21E}"/>
          </ac:picMkLst>
        </pc:picChg>
        <pc:picChg chg="mod">
          <ac:chgData name="Viktoria Hinz" userId="d41127ac-a411-4ad7-8d33-91a23e13dae5" providerId="ADAL" clId="{47C729D7-0582-4144-BB2F-143B4B35909A}" dt="2021-12-06T06:40:51.490" v="201" actId="1076"/>
          <ac:picMkLst>
            <pc:docMk/>
            <pc:sldMk cId="2000218109" sldId="1824"/>
            <ac:picMk id="35" creationId="{6C2F8B21-B309-4DAF-81DC-50A64DD4028D}"/>
          </ac:picMkLst>
        </pc:picChg>
        <pc:picChg chg="mod">
          <ac:chgData name="Viktoria Hinz" userId="d41127ac-a411-4ad7-8d33-91a23e13dae5" providerId="ADAL" clId="{47C729D7-0582-4144-BB2F-143B4B35909A}" dt="2021-12-06T06:40:48.248" v="199" actId="1076"/>
          <ac:picMkLst>
            <pc:docMk/>
            <pc:sldMk cId="2000218109" sldId="1824"/>
            <ac:picMk id="36" creationId="{0A5FD252-BB2D-460E-A957-E00FC5EE02C9}"/>
          </ac:picMkLst>
        </pc:picChg>
        <pc:picChg chg="mod">
          <ac:chgData name="Viktoria Hinz" userId="d41127ac-a411-4ad7-8d33-91a23e13dae5" providerId="ADAL" clId="{47C729D7-0582-4144-BB2F-143B4B35909A}" dt="2021-12-06T06:40:50.215" v="200" actId="1076"/>
          <ac:picMkLst>
            <pc:docMk/>
            <pc:sldMk cId="2000218109" sldId="1824"/>
            <ac:picMk id="40" creationId="{13610644-05A8-4A3F-909D-846D7CE6EED8}"/>
          </ac:picMkLst>
        </pc:picChg>
        <pc:picChg chg="mod">
          <ac:chgData name="Viktoria Hinz" userId="d41127ac-a411-4ad7-8d33-91a23e13dae5" providerId="ADAL" clId="{47C729D7-0582-4144-BB2F-143B4B35909A}" dt="2021-12-06T06:41:00.926" v="203" actId="1076"/>
          <ac:picMkLst>
            <pc:docMk/>
            <pc:sldMk cId="2000218109" sldId="1824"/>
            <ac:picMk id="42" creationId="{BC28BD5E-49DA-49CE-9E87-D090B1B23FEC}"/>
          </ac:picMkLst>
        </pc:picChg>
        <pc:picChg chg="mod">
          <ac:chgData name="Viktoria Hinz" userId="d41127ac-a411-4ad7-8d33-91a23e13dae5" providerId="ADAL" clId="{47C729D7-0582-4144-BB2F-143B4B35909A}" dt="2021-12-06T06:45:55.065" v="206" actId="14100"/>
          <ac:picMkLst>
            <pc:docMk/>
            <pc:sldMk cId="2000218109" sldId="1824"/>
            <ac:picMk id="44" creationId="{EC3C5618-7F0D-4BB3-BC63-99770DB8E375}"/>
          </ac:picMkLst>
        </pc:picChg>
        <pc:picChg chg="mod">
          <ac:chgData name="Viktoria Hinz" userId="d41127ac-a411-4ad7-8d33-91a23e13dae5" providerId="ADAL" clId="{47C729D7-0582-4144-BB2F-143B4B35909A}" dt="2021-12-06T06:40:13.589" v="185" actId="1076"/>
          <ac:picMkLst>
            <pc:docMk/>
            <pc:sldMk cId="2000218109" sldId="1824"/>
            <ac:picMk id="1026" creationId="{5DCC0301-FA24-47B2-A0C9-C685BB646591}"/>
          </ac:picMkLst>
        </pc:picChg>
        <pc:picChg chg="mod">
          <ac:chgData name="Viktoria Hinz" userId="d41127ac-a411-4ad7-8d33-91a23e13dae5" providerId="ADAL" clId="{47C729D7-0582-4144-BB2F-143B4B35909A}" dt="2021-12-06T06:40:26.919" v="191" actId="1076"/>
          <ac:picMkLst>
            <pc:docMk/>
            <pc:sldMk cId="2000218109" sldId="1824"/>
            <ac:picMk id="57350" creationId="{F9CC663C-BC40-4078-9713-9B1AEE1595E1}"/>
          </ac:picMkLst>
        </pc:picChg>
      </pc:sldChg>
      <pc:sldChg chg="modSp mod">
        <pc:chgData name="Viktoria Hinz" userId="d41127ac-a411-4ad7-8d33-91a23e13dae5" providerId="ADAL" clId="{47C729D7-0582-4144-BB2F-143B4B35909A}" dt="2022-03-04T16:02:43.827" v="287" actId="14100"/>
        <pc:sldMkLst>
          <pc:docMk/>
          <pc:sldMk cId="3296017395" sldId="1828"/>
        </pc:sldMkLst>
        <pc:spChg chg="mod">
          <ac:chgData name="Viktoria Hinz" userId="d41127ac-a411-4ad7-8d33-91a23e13dae5" providerId="ADAL" clId="{47C729D7-0582-4144-BB2F-143B4B35909A}" dt="2022-03-04T16:02:43.827" v="287" actId="14100"/>
          <ac:spMkLst>
            <pc:docMk/>
            <pc:sldMk cId="3296017395" sldId="1828"/>
            <ac:spMk id="5" creationId="{15B00641-5CE4-41F3-864B-9424A7948415}"/>
          </ac:spMkLst>
        </pc:spChg>
      </pc:sldChg>
      <pc:sldChg chg="addSp modSp mod">
        <pc:chgData name="Viktoria Hinz" userId="d41127ac-a411-4ad7-8d33-91a23e13dae5" providerId="ADAL" clId="{47C729D7-0582-4144-BB2F-143B4B35909A}" dt="2022-03-10T09:35:33.475" v="293" actId="164"/>
        <pc:sldMkLst>
          <pc:docMk/>
          <pc:sldMk cId="1528243539" sldId="1833"/>
        </pc:sldMkLst>
        <pc:spChg chg="mod">
          <ac:chgData name="Viktoria Hinz" userId="d41127ac-a411-4ad7-8d33-91a23e13dae5" providerId="ADAL" clId="{47C729D7-0582-4144-BB2F-143B4B35909A}" dt="2022-03-10T09:35:33.475" v="293" actId="164"/>
          <ac:spMkLst>
            <pc:docMk/>
            <pc:sldMk cId="1528243539" sldId="1833"/>
            <ac:spMk id="3" creationId="{FD1F4E3C-E03F-46E8-87B4-74F6CC658256}"/>
          </ac:spMkLst>
        </pc:spChg>
        <pc:grpChg chg="add mod">
          <ac:chgData name="Viktoria Hinz" userId="d41127ac-a411-4ad7-8d33-91a23e13dae5" providerId="ADAL" clId="{47C729D7-0582-4144-BB2F-143B4B35909A}" dt="2022-03-10T09:35:33.475" v="293" actId="164"/>
          <ac:grpSpMkLst>
            <pc:docMk/>
            <pc:sldMk cId="1528243539" sldId="1833"/>
            <ac:grpSpMk id="5" creationId="{D92E06F5-57FA-4602-857A-D00BA0D27CFA}"/>
          </ac:grpSpMkLst>
        </pc:grpChg>
        <pc:picChg chg="mod">
          <ac:chgData name="Viktoria Hinz" userId="d41127ac-a411-4ad7-8d33-91a23e13dae5" providerId="ADAL" clId="{47C729D7-0582-4144-BB2F-143B4B35909A}" dt="2022-03-10T09:35:33.475" v="293" actId="164"/>
          <ac:picMkLst>
            <pc:docMk/>
            <pc:sldMk cId="1528243539" sldId="1833"/>
            <ac:picMk id="16" creationId="{A3FD2319-E71B-4702-B5A6-99175E7848F9}"/>
          </ac:picMkLst>
        </pc:picChg>
      </pc:sldChg>
    </pc:docChg>
  </pc:docChgLst>
  <pc:docChgLst>
    <pc:chgData name="Ralf Widtmann" userId="09d9d7f3-f107-42d4-b184-e757b2b60523" providerId="ADAL" clId="{4A73EBB8-8533-4405-A167-D841DD96A6B2}"/>
    <pc:docChg chg="custSel addSld delSld modSld modSection">
      <pc:chgData name="Ralf Widtmann" userId="09d9d7f3-f107-42d4-b184-e757b2b60523" providerId="ADAL" clId="{4A73EBB8-8533-4405-A167-D841DD96A6B2}" dt="2021-12-07T10:23:15.890" v="65" actId="20577"/>
      <pc:docMkLst>
        <pc:docMk/>
      </pc:docMkLst>
      <pc:sldChg chg="addSp delSp modSp mod">
        <pc:chgData name="Ralf Widtmann" userId="09d9d7f3-f107-42d4-b184-e757b2b60523" providerId="ADAL" clId="{4A73EBB8-8533-4405-A167-D841DD96A6B2}" dt="2021-11-08T10:30:03.244" v="11" actId="1076"/>
        <pc:sldMkLst>
          <pc:docMk/>
          <pc:sldMk cId="3822146091" sldId="1289"/>
        </pc:sldMkLst>
        <pc:spChg chg="del">
          <ac:chgData name="Ralf Widtmann" userId="09d9d7f3-f107-42d4-b184-e757b2b60523" providerId="ADAL" clId="{4A73EBB8-8533-4405-A167-D841DD96A6B2}" dt="2021-11-08T10:29:59.114" v="9" actId="478"/>
          <ac:spMkLst>
            <pc:docMk/>
            <pc:sldMk cId="3822146091" sldId="1289"/>
            <ac:spMk id="42" creationId="{D48D3375-8908-471E-A935-C1840C3D20E9}"/>
          </ac:spMkLst>
        </pc:spChg>
        <pc:spChg chg="add mod">
          <ac:chgData name="Ralf Widtmann" userId="09d9d7f3-f107-42d4-b184-e757b2b60523" providerId="ADAL" clId="{4A73EBB8-8533-4405-A167-D841DD96A6B2}" dt="2021-11-08T10:30:03.244" v="11" actId="1076"/>
          <ac:spMkLst>
            <pc:docMk/>
            <pc:sldMk cId="3822146091" sldId="1289"/>
            <ac:spMk id="52" creationId="{B35CEE56-982E-4EDE-982C-487066B85492}"/>
          </ac:spMkLst>
        </pc:spChg>
        <pc:spChg chg="add mod">
          <ac:chgData name="Ralf Widtmann" userId="09d9d7f3-f107-42d4-b184-e757b2b60523" providerId="ADAL" clId="{4A73EBB8-8533-4405-A167-D841DD96A6B2}" dt="2021-11-08T10:30:03.244" v="11" actId="1076"/>
          <ac:spMkLst>
            <pc:docMk/>
            <pc:sldMk cId="3822146091" sldId="1289"/>
            <ac:spMk id="53" creationId="{0DCFC679-34CF-442B-8AB0-036E36A6FB68}"/>
          </ac:spMkLst>
        </pc:spChg>
        <pc:spChg chg="del">
          <ac:chgData name="Ralf Widtmann" userId="09d9d7f3-f107-42d4-b184-e757b2b60523" providerId="ADAL" clId="{4A73EBB8-8533-4405-A167-D841DD96A6B2}" dt="2021-11-08T10:29:57.213" v="8" actId="478"/>
          <ac:spMkLst>
            <pc:docMk/>
            <pc:sldMk cId="3822146091" sldId="1289"/>
            <ac:spMk id="54" creationId="{D599863A-60C0-47BE-9BFB-66D423CF4987}"/>
          </ac:spMkLst>
        </pc:spChg>
        <pc:spChg chg="add mod">
          <ac:chgData name="Ralf Widtmann" userId="09d9d7f3-f107-42d4-b184-e757b2b60523" providerId="ADAL" clId="{4A73EBB8-8533-4405-A167-D841DD96A6B2}" dt="2021-11-08T10:30:03.244" v="11" actId="1076"/>
          <ac:spMkLst>
            <pc:docMk/>
            <pc:sldMk cId="3822146091" sldId="1289"/>
            <ac:spMk id="59" creationId="{04682F0A-D2FA-4300-8C1F-303CEA3833DB}"/>
          </ac:spMkLst>
        </pc:spChg>
        <pc:spChg chg="del">
          <ac:chgData name="Ralf Widtmann" userId="09d9d7f3-f107-42d4-b184-e757b2b60523" providerId="ADAL" clId="{4A73EBB8-8533-4405-A167-D841DD96A6B2}" dt="2021-11-08T10:29:57.213" v="8" actId="478"/>
          <ac:spMkLst>
            <pc:docMk/>
            <pc:sldMk cId="3822146091" sldId="1289"/>
            <ac:spMk id="65" creationId="{BF52297A-267E-41B7-B876-2442979FC768}"/>
          </ac:spMkLst>
        </pc:spChg>
      </pc:sldChg>
      <pc:sldChg chg="addSp delSp modSp mod">
        <pc:chgData name="Ralf Widtmann" userId="09d9d7f3-f107-42d4-b184-e757b2b60523" providerId="ADAL" clId="{4A73EBB8-8533-4405-A167-D841DD96A6B2}" dt="2021-11-26T10:23:51.249" v="60" actId="1076"/>
        <pc:sldMkLst>
          <pc:docMk/>
          <pc:sldMk cId="172735708" sldId="1726"/>
        </pc:sldMkLst>
        <pc:spChg chg="add mod">
          <ac:chgData name="Ralf Widtmann" userId="09d9d7f3-f107-42d4-b184-e757b2b60523" providerId="ADAL" clId="{4A73EBB8-8533-4405-A167-D841DD96A6B2}" dt="2021-10-26T12:14:27.507" v="7" actId="207"/>
          <ac:spMkLst>
            <pc:docMk/>
            <pc:sldMk cId="172735708" sldId="1726"/>
            <ac:spMk id="4" creationId="{93161889-3991-4B42-A9F4-A636199C2263}"/>
          </ac:spMkLst>
        </pc:spChg>
        <pc:picChg chg="del">
          <ac:chgData name="Ralf Widtmann" userId="09d9d7f3-f107-42d4-b184-e757b2b60523" providerId="ADAL" clId="{4A73EBB8-8533-4405-A167-D841DD96A6B2}" dt="2021-10-26T12:14:09.723" v="2" actId="478"/>
          <ac:picMkLst>
            <pc:docMk/>
            <pc:sldMk cId="172735708" sldId="1726"/>
            <ac:picMk id="6" creationId="{104CC80B-C9E4-43D3-B63E-19733C39B73B}"/>
          </ac:picMkLst>
        </pc:picChg>
        <pc:picChg chg="add mod">
          <ac:chgData name="Ralf Widtmann" userId="09d9d7f3-f107-42d4-b184-e757b2b60523" providerId="ADAL" clId="{4A73EBB8-8533-4405-A167-D841DD96A6B2}" dt="2021-10-26T12:14:13.338" v="4" actId="1076"/>
          <ac:picMkLst>
            <pc:docMk/>
            <pc:sldMk cId="172735708" sldId="1726"/>
            <ac:picMk id="8" creationId="{230073DA-12C3-4E3D-96D2-908B84E1C15C}"/>
          </ac:picMkLst>
        </pc:picChg>
        <pc:picChg chg="del">
          <ac:chgData name="Ralf Widtmann" userId="09d9d7f3-f107-42d4-b184-e757b2b60523" providerId="ADAL" clId="{4A73EBB8-8533-4405-A167-D841DD96A6B2}" dt="2021-10-26T12:14:09.723" v="2" actId="478"/>
          <ac:picMkLst>
            <pc:docMk/>
            <pc:sldMk cId="172735708" sldId="1726"/>
            <ac:picMk id="9" creationId="{48E94CDF-5AB5-4EA7-9CCF-CD24FDCD3A29}"/>
          </ac:picMkLst>
        </pc:picChg>
        <pc:picChg chg="add mod">
          <ac:chgData name="Ralf Widtmann" userId="09d9d7f3-f107-42d4-b184-e757b2b60523" providerId="ADAL" clId="{4A73EBB8-8533-4405-A167-D841DD96A6B2}" dt="2021-10-26T12:14:19.032" v="5" actId="1076"/>
          <ac:picMkLst>
            <pc:docMk/>
            <pc:sldMk cId="172735708" sldId="1726"/>
            <ac:picMk id="10" creationId="{9C0048A7-34AB-4616-B60F-578BF5A13D99}"/>
          </ac:picMkLst>
        </pc:picChg>
        <pc:picChg chg="mod">
          <ac:chgData name="Ralf Widtmann" userId="09d9d7f3-f107-42d4-b184-e757b2b60523" providerId="ADAL" clId="{4A73EBB8-8533-4405-A167-D841DD96A6B2}" dt="2021-11-26T10:23:51.249" v="60" actId="1076"/>
          <ac:picMkLst>
            <pc:docMk/>
            <pc:sldMk cId="172735708" sldId="1726"/>
            <ac:picMk id="1030" creationId="{E6228E71-C161-4315-9386-FD30D3C1F981}"/>
          </ac:picMkLst>
        </pc:picChg>
      </pc:sldChg>
      <pc:sldChg chg="modSp add mod modShow">
        <pc:chgData name="Ralf Widtmann" userId="09d9d7f3-f107-42d4-b184-e757b2b60523" providerId="ADAL" clId="{4A73EBB8-8533-4405-A167-D841DD96A6B2}" dt="2021-11-26T10:00:04.476" v="55" actId="729"/>
        <pc:sldMkLst>
          <pc:docMk/>
          <pc:sldMk cId="3205008243" sldId="1734"/>
        </pc:sldMkLst>
        <pc:spChg chg="mod">
          <ac:chgData name="Ralf Widtmann" userId="09d9d7f3-f107-42d4-b184-e757b2b60523" providerId="ADAL" clId="{4A73EBB8-8533-4405-A167-D841DD96A6B2}" dt="2021-11-26T08:05:22.301" v="14" actId="20577"/>
          <ac:spMkLst>
            <pc:docMk/>
            <pc:sldMk cId="3205008243" sldId="1734"/>
            <ac:spMk id="2" creationId="{89EE0A14-DA07-413B-B0D5-B5A9AFFD88E9}"/>
          </ac:spMkLst>
        </pc:spChg>
      </pc:sldChg>
      <pc:sldChg chg="modSp add mod modShow">
        <pc:chgData name="Ralf Widtmann" userId="09d9d7f3-f107-42d4-b184-e757b2b60523" providerId="ADAL" clId="{4A73EBB8-8533-4405-A167-D841DD96A6B2}" dt="2021-11-26T10:00:04.476" v="55" actId="729"/>
        <pc:sldMkLst>
          <pc:docMk/>
          <pc:sldMk cId="3421041120" sldId="1735"/>
        </pc:sldMkLst>
        <pc:spChg chg="mod">
          <ac:chgData name="Ralf Widtmann" userId="09d9d7f3-f107-42d4-b184-e757b2b60523" providerId="ADAL" clId="{4A73EBB8-8533-4405-A167-D841DD96A6B2}" dt="2021-11-26T08:05:26.093" v="15" actId="20577"/>
          <ac:spMkLst>
            <pc:docMk/>
            <pc:sldMk cId="3421041120" sldId="1735"/>
            <ac:spMk id="2" creationId="{2944679A-449E-4655-8C98-9626FBD3E8F8}"/>
          </ac:spMkLst>
        </pc:spChg>
      </pc:sldChg>
      <pc:sldChg chg="modSp mod">
        <pc:chgData name="Ralf Widtmann" userId="09d9d7f3-f107-42d4-b184-e757b2b60523" providerId="ADAL" clId="{4A73EBB8-8533-4405-A167-D841DD96A6B2}" dt="2021-12-07T10:23:15.890" v="65" actId="20577"/>
        <pc:sldMkLst>
          <pc:docMk/>
          <pc:sldMk cId="2411702445" sldId="1738"/>
        </pc:sldMkLst>
        <pc:spChg chg="mod">
          <ac:chgData name="Ralf Widtmann" userId="09d9d7f3-f107-42d4-b184-e757b2b60523" providerId="ADAL" clId="{4A73EBB8-8533-4405-A167-D841DD96A6B2}" dt="2021-12-07T10:23:15.890" v="65" actId="20577"/>
          <ac:spMkLst>
            <pc:docMk/>
            <pc:sldMk cId="2411702445" sldId="1738"/>
            <ac:spMk id="18" creationId="{1FD1A169-1802-4085-B378-E04A3C23CF0A}"/>
          </ac:spMkLst>
        </pc:spChg>
      </pc:sldChg>
      <pc:sldChg chg="modSp mod">
        <pc:chgData name="Ralf Widtmann" userId="09d9d7f3-f107-42d4-b184-e757b2b60523" providerId="ADAL" clId="{4A73EBB8-8533-4405-A167-D841DD96A6B2}" dt="2021-11-26T08:07:43.042" v="16" actId="20577"/>
        <pc:sldMkLst>
          <pc:docMk/>
          <pc:sldMk cId="2548184042" sldId="1747"/>
        </pc:sldMkLst>
        <pc:spChg chg="mod">
          <ac:chgData name="Ralf Widtmann" userId="09d9d7f3-f107-42d4-b184-e757b2b60523" providerId="ADAL" clId="{4A73EBB8-8533-4405-A167-D841DD96A6B2}" dt="2021-11-26T08:07:43.042" v="16" actId="20577"/>
          <ac:spMkLst>
            <pc:docMk/>
            <pc:sldMk cId="2548184042" sldId="1747"/>
            <ac:spMk id="6" creationId="{F957F0AE-B874-4452-93B2-C425AF6BCE33}"/>
          </ac:spMkLst>
        </pc:spChg>
      </pc:sldChg>
      <pc:sldChg chg="addSp delSp mod">
        <pc:chgData name="Ralf Widtmann" userId="09d9d7f3-f107-42d4-b184-e757b2b60523" providerId="ADAL" clId="{4A73EBB8-8533-4405-A167-D841DD96A6B2}" dt="2021-10-07T11:38:52.195" v="1" actId="478"/>
        <pc:sldMkLst>
          <pc:docMk/>
          <pc:sldMk cId="630431165" sldId="1748"/>
        </pc:sldMkLst>
        <pc:picChg chg="add del">
          <ac:chgData name="Ralf Widtmann" userId="09d9d7f3-f107-42d4-b184-e757b2b60523" providerId="ADAL" clId="{4A73EBB8-8533-4405-A167-D841DD96A6B2}" dt="2021-10-07T11:38:52.195" v="1" actId="478"/>
          <ac:picMkLst>
            <pc:docMk/>
            <pc:sldMk cId="630431165" sldId="1748"/>
            <ac:picMk id="3" creationId="{647BCBDE-E83C-44D9-9863-6CBED005FC00}"/>
          </ac:picMkLst>
        </pc:picChg>
      </pc:sldChg>
      <pc:sldChg chg="modSp mod">
        <pc:chgData name="Ralf Widtmann" userId="09d9d7f3-f107-42d4-b184-e757b2b60523" providerId="ADAL" clId="{4A73EBB8-8533-4405-A167-D841DD96A6B2}" dt="2021-11-19T13:14:29.600" v="12" actId="14100"/>
        <pc:sldMkLst>
          <pc:docMk/>
          <pc:sldMk cId="292495921" sldId="1780"/>
        </pc:sldMkLst>
        <pc:picChg chg="mod">
          <ac:chgData name="Ralf Widtmann" userId="09d9d7f3-f107-42d4-b184-e757b2b60523" providerId="ADAL" clId="{4A73EBB8-8533-4405-A167-D841DD96A6B2}" dt="2021-11-19T13:14:29.600" v="12" actId="14100"/>
          <ac:picMkLst>
            <pc:docMk/>
            <pc:sldMk cId="292495921" sldId="1780"/>
            <ac:picMk id="7" creationId="{C9072D79-712D-4EE9-B036-C7E17A8F3F2F}"/>
          </ac:picMkLst>
        </pc:picChg>
      </pc:sldChg>
      <pc:sldChg chg="addSp modSp new del mod modClrScheme chgLayout">
        <pc:chgData name="Ralf Widtmann" userId="09d9d7f3-f107-42d4-b184-e757b2b60523" providerId="ADAL" clId="{4A73EBB8-8533-4405-A167-D841DD96A6B2}" dt="2021-11-26T08:32:07.390" v="52" actId="2696"/>
        <pc:sldMkLst>
          <pc:docMk/>
          <pc:sldMk cId="3099801180" sldId="1782"/>
        </pc:sldMkLst>
        <pc:spChg chg="add mod">
          <ac:chgData name="Ralf Widtmann" userId="09d9d7f3-f107-42d4-b184-e757b2b60523" providerId="ADAL" clId="{4A73EBB8-8533-4405-A167-D841DD96A6B2}" dt="2021-11-26T08:16:31.977" v="51" actId="20577"/>
          <ac:spMkLst>
            <pc:docMk/>
            <pc:sldMk cId="3099801180" sldId="1782"/>
            <ac:spMk id="2" creationId="{5A89A905-893E-4B9A-9ED7-1D41347D17BA}"/>
          </ac:spMkLst>
        </pc:spChg>
      </pc:sldChg>
      <pc:sldChg chg="new del">
        <pc:chgData name="Ralf Widtmann" userId="09d9d7f3-f107-42d4-b184-e757b2b60523" providerId="ADAL" clId="{4A73EBB8-8533-4405-A167-D841DD96A6B2}" dt="2021-11-26T08:32:11.548" v="54" actId="47"/>
        <pc:sldMkLst>
          <pc:docMk/>
          <pc:sldMk cId="3684302068" sldId="1782"/>
        </pc:sldMkLst>
      </pc:sldChg>
    </pc:docChg>
  </pc:docChgLst>
  <pc:docChgLst>
    <pc:chgData name="Felix Wrobel" userId="59023942-729c-4365-aec1-97bf07f291c7" providerId="ADAL" clId="{69BDD2DD-FBE0-4B75-ACBC-B7F9F44E0739}"/>
    <pc:docChg chg="undo custSel addSld delSld modSld modSection">
      <pc:chgData name="Felix Wrobel" userId="59023942-729c-4365-aec1-97bf07f291c7" providerId="ADAL" clId="{69BDD2DD-FBE0-4B75-ACBC-B7F9F44E0739}" dt="2022-01-20T09:22:48.557" v="47" actId="166"/>
      <pc:docMkLst>
        <pc:docMk/>
      </pc:docMkLst>
      <pc:sldChg chg="modSp mod">
        <pc:chgData name="Felix Wrobel" userId="59023942-729c-4365-aec1-97bf07f291c7" providerId="ADAL" clId="{69BDD2DD-FBE0-4B75-ACBC-B7F9F44E0739}" dt="2022-01-20T09:22:48.557" v="47" actId="166"/>
        <pc:sldMkLst>
          <pc:docMk/>
          <pc:sldMk cId="172735708" sldId="1726"/>
        </pc:sldMkLst>
        <pc:grpChg chg="mod">
          <ac:chgData name="Felix Wrobel" userId="59023942-729c-4365-aec1-97bf07f291c7" providerId="ADAL" clId="{69BDD2DD-FBE0-4B75-ACBC-B7F9F44E0739}" dt="2022-01-20T09:21:52.825" v="38" actId="14100"/>
          <ac:grpSpMkLst>
            <pc:docMk/>
            <pc:sldMk cId="172735708" sldId="1726"/>
            <ac:grpSpMk id="6" creationId="{171DE86D-FDDA-4317-8C02-1CF03F41CE2C}"/>
          </ac:grpSpMkLst>
        </pc:grpChg>
        <pc:picChg chg="mod ord">
          <ac:chgData name="Felix Wrobel" userId="59023942-729c-4365-aec1-97bf07f291c7" providerId="ADAL" clId="{69BDD2DD-FBE0-4B75-ACBC-B7F9F44E0739}" dt="2022-01-20T09:22:37.763" v="46" actId="166"/>
          <ac:picMkLst>
            <pc:docMk/>
            <pc:sldMk cId="172735708" sldId="1726"/>
            <ac:picMk id="8" creationId="{230073DA-12C3-4E3D-96D2-908B84E1C15C}"/>
          </ac:picMkLst>
        </pc:picChg>
        <pc:picChg chg="mod">
          <ac:chgData name="Felix Wrobel" userId="59023942-729c-4365-aec1-97bf07f291c7" providerId="ADAL" clId="{69BDD2DD-FBE0-4B75-ACBC-B7F9F44E0739}" dt="2022-01-20T09:22:14.705" v="42" actId="14100"/>
          <ac:picMkLst>
            <pc:docMk/>
            <pc:sldMk cId="172735708" sldId="1726"/>
            <ac:picMk id="9" creationId="{564DAE61-642A-4A11-9877-AAF83BF41CB9}"/>
          </ac:picMkLst>
        </pc:picChg>
        <pc:picChg chg="mod">
          <ac:chgData name="Felix Wrobel" userId="59023942-729c-4365-aec1-97bf07f291c7" providerId="ADAL" clId="{69BDD2DD-FBE0-4B75-ACBC-B7F9F44E0739}" dt="2022-01-20T09:22:48.557" v="47" actId="166"/>
          <ac:picMkLst>
            <pc:docMk/>
            <pc:sldMk cId="172735708" sldId="1726"/>
            <ac:picMk id="1026" creationId="{41975EE7-AFDF-4C91-A2E2-931A0AE1637A}"/>
          </ac:picMkLst>
        </pc:picChg>
      </pc:sldChg>
      <pc:sldChg chg="modSp mod">
        <pc:chgData name="Felix Wrobel" userId="59023942-729c-4365-aec1-97bf07f291c7" providerId="ADAL" clId="{69BDD2DD-FBE0-4B75-ACBC-B7F9F44E0739}" dt="2022-01-20T09:14:16.036" v="34" actId="14100"/>
        <pc:sldMkLst>
          <pc:docMk/>
          <pc:sldMk cId="871657614" sldId="1731"/>
        </pc:sldMkLst>
        <pc:picChg chg="mod ord">
          <ac:chgData name="Felix Wrobel" userId="59023942-729c-4365-aec1-97bf07f291c7" providerId="ADAL" clId="{69BDD2DD-FBE0-4B75-ACBC-B7F9F44E0739}" dt="2022-01-20T09:14:16.036" v="34" actId="14100"/>
          <ac:picMkLst>
            <pc:docMk/>
            <pc:sldMk cId="871657614" sldId="1731"/>
            <ac:picMk id="4" creationId="{47BAE871-4C4F-47AF-83C1-95687539702C}"/>
          </ac:picMkLst>
        </pc:picChg>
        <pc:picChg chg="mod ord">
          <ac:chgData name="Felix Wrobel" userId="59023942-729c-4365-aec1-97bf07f291c7" providerId="ADAL" clId="{69BDD2DD-FBE0-4B75-ACBC-B7F9F44E0739}" dt="2022-01-19T14:30:12.451" v="26" actId="14100"/>
          <ac:picMkLst>
            <pc:docMk/>
            <pc:sldMk cId="871657614" sldId="1731"/>
            <ac:picMk id="44" creationId="{182099F7-2B2E-4927-8E48-F390F9299784}"/>
          </ac:picMkLst>
        </pc:picChg>
        <pc:picChg chg="mod ord">
          <ac:chgData name="Felix Wrobel" userId="59023942-729c-4365-aec1-97bf07f291c7" providerId="ADAL" clId="{69BDD2DD-FBE0-4B75-ACBC-B7F9F44E0739}" dt="2022-01-20T09:14:05.627" v="32" actId="14100"/>
          <ac:picMkLst>
            <pc:docMk/>
            <pc:sldMk cId="871657614" sldId="1731"/>
            <ac:picMk id="45" creationId="{B1D6FE0A-823D-4C5B-ADBF-51B7770465F5}"/>
          </ac:picMkLst>
        </pc:picChg>
      </pc:sldChg>
      <pc:sldChg chg="mod modShow">
        <pc:chgData name="Felix Wrobel" userId="59023942-729c-4365-aec1-97bf07f291c7" providerId="ADAL" clId="{69BDD2DD-FBE0-4B75-ACBC-B7F9F44E0739}" dt="2021-12-20T13:27:40.491" v="21" actId="729"/>
        <pc:sldMkLst>
          <pc:docMk/>
          <pc:sldMk cId="3205008243" sldId="1734"/>
        </pc:sldMkLst>
      </pc:sldChg>
      <pc:sldChg chg="mod modShow">
        <pc:chgData name="Felix Wrobel" userId="59023942-729c-4365-aec1-97bf07f291c7" providerId="ADAL" clId="{69BDD2DD-FBE0-4B75-ACBC-B7F9F44E0739}" dt="2021-12-20T13:27:44.496" v="22" actId="729"/>
        <pc:sldMkLst>
          <pc:docMk/>
          <pc:sldMk cId="3421041120" sldId="1735"/>
        </pc:sldMkLst>
      </pc:sldChg>
      <pc:sldChg chg="add del">
        <pc:chgData name="Felix Wrobel" userId="59023942-729c-4365-aec1-97bf07f291c7" providerId="ADAL" clId="{69BDD2DD-FBE0-4B75-ACBC-B7F9F44E0739}" dt="2021-10-28T15:27:20.080" v="3" actId="47"/>
        <pc:sldMkLst>
          <pc:docMk/>
          <pc:sldMk cId="2231838759" sldId="1741"/>
        </pc:sldMkLst>
      </pc:sldChg>
      <pc:sldChg chg="add del">
        <pc:chgData name="Felix Wrobel" userId="59023942-729c-4365-aec1-97bf07f291c7" providerId="ADAL" clId="{69BDD2DD-FBE0-4B75-ACBC-B7F9F44E0739}" dt="2021-10-28T15:27:20.581" v="4" actId="47"/>
        <pc:sldMkLst>
          <pc:docMk/>
          <pc:sldMk cId="630431165" sldId="1748"/>
        </pc:sldMkLst>
      </pc:sldChg>
      <pc:sldChg chg="add del">
        <pc:chgData name="Felix Wrobel" userId="59023942-729c-4365-aec1-97bf07f291c7" providerId="ADAL" clId="{69BDD2DD-FBE0-4B75-ACBC-B7F9F44E0739}" dt="2021-10-28T15:27:22.617" v="5"/>
        <pc:sldMkLst>
          <pc:docMk/>
          <pc:sldMk cId="2511073878" sldId="1775"/>
        </pc:sldMkLst>
      </pc:sldChg>
      <pc:sldChg chg="add del">
        <pc:chgData name="Felix Wrobel" userId="59023942-729c-4365-aec1-97bf07f291c7" providerId="ADAL" clId="{69BDD2DD-FBE0-4B75-ACBC-B7F9F44E0739}" dt="2021-10-28T15:27:22.617" v="5"/>
        <pc:sldMkLst>
          <pc:docMk/>
          <pc:sldMk cId="2571894982" sldId="1776"/>
        </pc:sldMkLst>
      </pc:sldChg>
    </pc:docChg>
  </pc:docChgLst>
  <pc:docChgLst>
    <pc:chgData name="Sebastian Ratcliffe" userId="c64a2881-3456-4bca-832f-7adce3490f8a" providerId="ADAL" clId="{05B3F4D9-3773-4A95-8D44-0F813A18D52E}"/>
    <pc:docChg chg="modSld">
      <pc:chgData name="Sebastian Ratcliffe" userId="c64a2881-3456-4bca-832f-7adce3490f8a" providerId="ADAL" clId="{05B3F4D9-3773-4A95-8D44-0F813A18D52E}" dt="2021-11-16T13:16:20.881" v="0" actId="14100"/>
      <pc:docMkLst>
        <pc:docMk/>
      </pc:docMkLst>
      <pc:sldChg chg="modSp mod">
        <pc:chgData name="Sebastian Ratcliffe" userId="c64a2881-3456-4bca-832f-7adce3490f8a" providerId="ADAL" clId="{05B3F4D9-3773-4A95-8D44-0F813A18D52E}" dt="2021-11-16T13:16:20.881" v="0" actId="14100"/>
        <pc:sldMkLst>
          <pc:docMk/>
          <pc:sldMk cId="292495921" sldId="1780"/>
        </pc:sldMkLst>
        <pc:spChg chg="mod">
          <ac:chgData name="Sebastian Ratcliffe" userId="c64a2881-3456-4bca-832f-7adce3490f8a" providerId="ADAL" clId="{05B3F4D9-3773-4A95-8D44-0F813A18D52E}" dt="2021-11-16T13:16:20.881" v="0" actId="14100"/>
          <ac:spMkLst>
            <pc:docMk/>
            <pc:sldMk cId="292495921" sldId="1780"/>
            <ac:spMk id="17" creationId="{2EBB67EC-EAF2-4C0D-9222-AC9CCB6E965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6FD422B-25C3-BA4C-8631-7A576209D6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76BCF2-AED6-854A-A41B-B7B34215DD7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65E979-0665-304F-8208-AF78DE2493BB}" type="datetimeFigureOut">
              <a:rPr lang="en-US" smtClean="0"/>
              <a:t>4/1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31E133-2774-8A44-9036-A5D735BCF4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4DCC79-391F-A142-859F-2125150F772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5402F1-0DBA-194F-8705-1F1DB4C67F1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2042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26141F-EB03-4A8B-B1DB-CDD8DB7066F4}" type="datetimeFigureOut">
              <a:rPr lang="de-AT" smtClean="0"/>
              <a:t>12.04.2022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24AB81-C616-4FFF-99AE-BFDA3365205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72990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3923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pPr/>
              <a:t>1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22738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06956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lnSpc>
                <a:spcPct val="90000"/>
              </a:lnSpc>
              <a:spcBef>
                <a:spcPts val="400"/>
              </a:spcBef>
              <a:buAutoNum type="arabicPeriod"/>
            </a:pPr>
            <a:r>
              <a:rPr lang="de-AT" sz="1200">
                <a:solidFill>
                  <a:srgbClr val="0DA79E"/>
                </a:solidFill>
              </a:rPr>
              <a:t>Real-time Gesprächsthemen für den/die Berater/i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de-AT" sz="1200">
                <a:solidFill>
                  <a:srgbClr val="0DA79E"/>
                </a:solidFill>
              </a:rPr>
              <a:t>Effektive Kampagnen –Sprechen Sie mit Ihren KundInnen zu den Risiken, die gerade präsent sind</a:t>
            </a:r>
          </a:p>
          <a:p>
            <a:pPr marL="228600" indent="-228600">
              <a:lnSpc>
                <a:spcPct val="90000"/>
              </a:lnSpc>
              <a:spcBef>
                <a:spcPts val="400"/>
              </a:spcBef>
              <a:buAutoNum type="arabicPeriod"/>
            </a:pPr>
            <a:endParaRPr lang="de-AT" sz="1200">
              <a:solidFill>
                <a:srgbClr val="0DA79E"/>
              </a:solidFill>
            </a:endParaRPr>
          </a:p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38707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AT" sz="1200" b="0"/>
              <a:t>„ALIS“ </a:t>
            </a:r>
            <a:r>
              <a:rPr lang="de-AT" sz="1200"/>
              <a:t>verbindet auf intelligente Weise alle individuellen Module mit einem Lebenszyklusmodell und erstellt eine Prognose</a:t>
            </a:r>
            <a:endParaRPr lang="de-AT" sz="1200" b="0"/>
          </a:p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200" b="0"/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AT" sz="1200" b="0"/>
              <a:t>Ermöglicht Berater/innen </a:t>
            </a:r>
            <a:r>
              <a:rPr lang="de-AT" sz="1200"/>
              <a:t>mit unterschiedlichen Erfahrungsniveaus gute Finanzberatung und Finanzplanung durchzuführen</a:t>
            </a:r>
            <a:endParaRPr lang="de-AT" sz="1200" b="0"/>
          </a:p>
          <a:p>
            <a:pPr marL="285750" indent="-28575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de-AT" sz="1200"/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200" b="0">
                <a:solidFill>
                  <a:schemeClr val="accent1"/>
                </a:solidFill>
              </a:rPr>
              <a:t>“</a:t>
            </a:r>
            <a:r>
              <a:rPr lang="en-US" sz="1200" b="0">
                <a:solidFill>
                  <a:schemeClr val="accent1"/>
                </a:solidFill>
              </a:rPr>
              <a:t>Wealth management quality at retail cost“</a:t>
            </a:r>
          </a:p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4777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>
                <a:solidFill>
                  <a:schemeClr val="accent1"/>
                </a:solidFill>
              </a:rPr>
              <a:t>Integration in existierende </a:t>
            </a:r>
            <a:r>
              <a:rPr lang="de-AT" sz="1200" err="1">
                <a:solidFill>
                  <a:schemeClr val="accent1"/>
                </a:solidFill>
              </a:rPr>
              <a:t>Frontends</a:t>
            </a:r>
            <a:endParaRPr lang="de-AT" sz="1200">
              <a:solidFill>
                <a:schemeClr val="accent1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 b="0">
                <a:solidFill>
                  <a:schemeClr val="accent1"/>
                </a:solidFill>
              </a:rPr>
              <a:t>Flexible Anpassung unseres White Label </a:t>
            </a:r>
            <a:r>
              <a:rPr lang="de-AT" sz="1200" b="0" err="1">
                <a:solidFill>
                  <a:schemeClr val="accent1"/>
                </a:solidFill>
              </a:rPr>
              <a:t>Frontends</a:t>
            </a:r>
            <a:endParaRPr lang="de-AT" sz="1200" b="0">
              <a:solidFill>
                <a:schemeClr val="accent1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>
                <a:solidFill>
                  <a:schemeClr val="accent1"/>
                </a:solidFill>
              </a:rPr>
              <a:t>Bauen Sie Ihr eigenes Frontend</a:t>
            </a:r>
            <a:endParaRPr lang="de-AT" sz="1200" b="0">
              <a:solidFill>
                <a:schemeClr val="accent1"/>
              </a:solidFill>
            </a:endParaRPr>
          </a:p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35780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8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29442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79599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0033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24AB81-C616-4FFF-99AE-BFDA33652050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10822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6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3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3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3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jpeg"/><Relationship Id="rId18" Type="http://schemas.openxmlformats.org/officeDocument/2006/relationships/image" Target="../media/image25.jpeg"/><Relationship Id="rId26" Type="http://schemas.openxmlformats.org/officeDocument/2006/relationships/image" Target="../media/image33.png"/><Relationship Id="rId3" Type="http://schemas.openxmlformats.org/officeDocument/2006/relationships/slideMaster" Target="../slideMasters/slideMaster1.xml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17" Type="http://schemas.openxmlformats.org/officeDocument/2006/relationships/image" Target="../media/image24.jpeg"/><Relationship Id="rId25" Type="http://schemas.openxmlformats.org/officeDocument/2006/relationships/image" Target="../media/image32.png"/><Relationship Id="rId2" Type="http://schemas.openxmlformats.org/officeDocument/2006/relationships/tags" Target="../tags/tag79.xml"/><Relationship Id="rId16" Type="http://schemas.openxmlformats.org/officeDocument/2006/relationships/image" Target="../media/image23.jpeg"/><Relationship Id="rId20" Type="http://schemas.openxmlformats.org/officeDocument/2006/relationships/image" Target="../media/image27.jpeg"/><Relationship Id="rId1" Type="http://schemas.openxmlformats.org/officeDocument/2006/relationships/tags" Target="../tags/tag78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jpeg"/><Relationship Id="rId23" Type="http://schemas.openxmlformats.org/officeDocument/2006/relationships/image" Target="../media/image30.png"/><Relationship Id="rId10" Type="http://schemas.openxmlformats.org/officeDocument/2006/relationships/image" Target="../media/image17.jpeg"/><Relationship Id="rId19" Type="http://schemas.openxmlformats.org/officeDocument/2006/relationships/image" Target="../media/image26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hyperlink" Target="mailto:Ralf.Widtmann@riskine.com" TargetMode="Externa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C4FFA78-24F1-4E77-8BE0-3790813893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1989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C4FFA78-24F1-4E77-8BE0-3790813893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037A43F-1354-4658-9FC1-C52B760B20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D7CBB7-D042-47B1-BD22-D892A7CD76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3517392"/>
            <a:ext cx="12192000" cy="334060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D92A0BA-91A1-414D-B548-8007E3154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706400"/>
            <a:ext cx="11460525" cy="409175"/>
          </a:xfrm>
        </p:spPr>
        <p:txBody>
          <a:bodyPr/>
          <a:lstStyle>
            <a:lvl1pPr algn="ctr">
              <a:defRPr sz="2800" b="0" i="0">
                <a:latin typeface="Intro Bold" panose="02000000000000000000" pitchFamily="50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01A323F-B730-424C-854F-14AD83E3D0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3240000"/>
            <a:ext cx="11462400" cy="349971"/>
          </a:xfrm>
        </p:spPr>
        <p:txBody>
          <a:bodyPr/>
          <a:lstStyle>
            <a:lvl1pPr algn="ctr">
              <a:defRPr lang="en-US" sz="1600" b="0" spc="300" dirty="0"/>
            </a:lvl1pPr>
            <a:lvl2pPr marL="0" indent="0" algn="ctr">
              <a:buFont typeface="Arial" panose="020B0604020202020204" pitchFamily="34" charset="0"/>
              <a:buNone/>
              <a:defRPr lang="en-US" sz="1600" b="0" i="0" kern="1200" spc="300" baseline="0" dirty="0">
                <a:solidFill>
                  <a:schemeClr val="tx1"/>
                </a:solidFill>
                <a:latin typeface="+mn-lt"/>
                <a:ea typeface="+mj-ea"/>
                <a:cs typeface="+mj-cs"/>
                <a:sym typeface="+mn-lt"/>
              </a:defRPr>
            </a:lvl2pPr>
          </a:lstStyle>
          <a:p>
            <a:r>
              <a:rPr lang="en-US" sz="1600" b="0">
                <a:latin typeface="+mn-lt"/>
              </a:rPr>
              <a:t>CLICK TO EDIT SUBTITL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405E0F82-C261-7A47-98FA-EE9DD5EF7C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23656" y="4821959"/>
            <a:ext cx="4735088" cy="182358"/>
          </a:xfrm>
        </p:spPr>
        <p:txBody>
          <a:bodyPr/>
          <a:lstStyle>
            <a:lvl1pPr algn="ctr">
              <a:defRPr sz="10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Datum 09.03.2021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7391C8F-59DC-47CB-908B-A2692601CCF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9010" y="453761"/>
            <a:ext cx="1381910" cy="30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960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667FE7-D0AE-4ADB-8B33-0C79CB71DC8A}"/>
              </a:ext>
            </a:extLst>
          </p:cNvPr>
          <p:cNvSpPr/>
          <p:nvPr userDrawn="1"/>
        </p:nvSpPr>
        <p:spPr>
          <a:xfrm>
            <a:off x="0" y="-5365"/>
            <a:ext cx="12192000" cy="1072166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688AC4-2B19-4FB0-B149-05470B3AF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531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688AC4-2B19-4FB0-B149-05470B3AF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2A0581-01AF-4581-AA39-B244138D91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0000" y="1706400"/>
            <a:ext cx="5400000" cy="116429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7873" y="1710628"/>
            <a:ext cx="5400000" cy="116429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">
            <a:extLst>
              <a:ext uri="{FF2B5EF4-FFF2-40B4-BE49-F238E27FC236}">
                <a16:creationId xmlns:a16="http://schemas.microsoft.com/office/drawing/2014/main" id="{721553F3-22BD-1D48-AAF5-D9464AB15E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1"/>
            <a:ext cx="10080703" cy="10668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noProof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title second line</a:t>
            </a:r>
          </a:p>
        </p:txBody>
      </p:sp>
    </p:spTree>
    <p:extLst>
      <p:ext uri="{BB962C8B-B14F-4D97-AF65-F5344CB8AC3E}">
        <p14:creationId xmlns:p14="http://schemas.microsoft.com/office/powerpoint/2010/main" val="73656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&amp; HL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A4D751F-0164-49BF-82D9-D48F3C287DDF}"/>
              </a:ext>
            </a:extLst>
          </p:cNvPr>
          <p:cNvSpPr/>
          <p:nvPr userDrawn="1"/>
        </p:nvSpPr>
        <p:spPr>
          <a:xfrm>
            <a:off x="0" y="-5365"/>
            <a:ext cx="12192000" cy="1072166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83F367-85A7-4154-AA16-4383A2F3E3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27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83F367-85A7-4154-AA16-4383A2F3E3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5562B23-455B-4D64-8A10-C703D789AB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9005" y="1625437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4075" y="1625437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6424075" y="1264923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45881AEB-D6BB-4607-A3C5-C1A19FEBD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8773" y="1264923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2C0735B-BFF0-4441-A593-0D25E1A4D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3" y="0"/>
            <a:ext cx="10079440" cy="106680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Click to edit title 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094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3 Collums &amp; HL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E3F4B4F-076C-49ED-AE84-0E067C6AB26F}"/>
              </a:ext>
            </a:extLst>
          </p:cNvPr>
          <p:cNvSpPr/>
          <p:nvPr userDrawn="1"/>
        </p:nvSpPr>
        <p:spPr>
          <a:xfrm>
            <a:off x="0" y="-5365"/>
            <a:ext cx="12192000" cy="1072166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DF197F-460C-4ED7-AC57-B32DAE4B3F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1909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DF197F-460C-4ED7-AC57-B32DAE4B3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1DF096A-5B31-4E61-9DFA-801FC75F30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9" y="1567322"/>
            <a:ext cx="3599538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220987" y="1567322"/>
            <a:ext cx="3599538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89883" y="1567322"/>
            <a:ext cx="3599538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2CB13EE1-C9DD-4E01-A42A-6B0BFDE3BB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775" y="1207322"/>
            <a:ext cx="3599538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88D4BD1-6449-47C6-8541-8071C03F17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987" y="1207322"/>
            <a:ext cx="3599538" cy="275717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425462-15C0-4B11-A768-07D261D7FE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89881" y="1207322"/>
            <a:ext cx="3599538" cy="276358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B9D9BD-C59A-4966-831F-925F8A3AD3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0"/>
            <a:ext cx="10079440" cy="106680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7647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85346F-FF8A-4335-989A-447DE6CF58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039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085346F-FF8A-4335-989A-447DE6CF5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EA0A12-438D-40EE-AA92-8B972532F2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D62955-4FEC-C94A-95B8-0A4CED5CB8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11580"/>
            <a:ext cx="12192000" cy="1246421"/>
          </a:xfrm>
          <a:prstGeom prst="rect">
            <a:avLst/>
          </a:prstGeom>
        </p:spPr>
      </p:pic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49CACD-3DAA-B14A-9776-B120F5D4EE3F}"/>
              </a:ext>
            </a:extLst>
          </p:cNvPr>
          <p:cNvSpPr txBox="1"/>
          <p:nvPr userDrawn="1"/>
        </p:nvSpPr>
        <p:spPr>
          <a:xfrm>
            <a:off x="3100253" y="653144"/>
            <a:ext cx="65" cy="20858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1500" b="0" noProof="0">
              <a:latin typeface="+mn-lt"/>
              <a:cs typeface="Arial Narrow" pitchFamily="34" charset="0"/>
            </a:endParaRP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AC987CF-889D-1E4E-8D26-774B569508D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7348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26FA84-4B70-CD4A-99CB-A2030A3392D0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1" name="Slide Number Line">
            <a:extLst>
              <a:ext uri="{FF2B5EF4-FFF2-40B4-BE49-F238E27FC236}">
                <a16:creationId xmlns:a16="http://schemas.microsoft.com/office/drawing/2014/main" id="{2515AF35-0CD6-CA4B-91EE-64EA5DAA67A8}"/>
              </a:ext>
            </a:extLst>
          </p:cNvPr>
          <p:cNvSpPr>
            <a:spLocks noChangeShapeType="1"/>
          </p:cNvSpPr>
          <p:nvPr userDrawn="1"/>
        </p:nvSpPr>
        <p:spPr bwMode="auto">
          <a:xfrm rot="5400000">
            <a:off x="1096280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74AD0E-FFAF-E44F-911F-2C30DB3D7ABC}"/>
              </a:ext>
            </a:extLst>
          </p:cNvPr>
          <p:cNvSpPr/>
          <p:nvPr userDrawn="1"/>
        </p:nvSpPr>
        <p:spPr>
          <a:xfrm>
            <a:off x="1005419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7B1487-A97D-4C4C-887E-F7B00234D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3703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1 Collum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4A9616-D0D7-4BD6-AC5E-2D83B37FC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825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4A9616-D0D7-4BD6-AC5E-2D83B37FC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26E359-4B77-4E7B-BC50-C253D9FF82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EF8A00-F43D-AE4E-9032-D8BF16C10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706419"/>
            <a:ext cx="11461749" cy="1307409"/>
          </a:xfrm>
        </p:spPr>
        <p:txBody>
          <a:bodyPr wrap="square">
            <a:spAutoFit/>
          </a:bodyPr>
          <a:lstStyle>
            <a:lvl1pPr>
              <a:defRPr>
                <a:latin typeface="Intro Regular" panose="02000000000000000000" pitchFamily="50" charset="0"/>
                <a:sym typeface="+mn-lt"/>
              </a:defRPr>
            </a:lvl1pPr>
            <a:lvl2pPr>
              <a:defRPr>
                <a:latin typeface="Intro Regular" panose="02000000000000000000" pitchFamily="50" charset="0"/>
                <a:sym typeface="+mn-lt"/>
              </a:defRPr>
            </a:lvl2pPr>
            <a:lvl3pPr>
              <a:defRPr>
                <a:latin typeface="Intro Regular" panose="02000000000000000000" pitchFamily="50" charset="0"/>
                <a:sym typeface="+mn-lt"/>
              </a:defRPr>
            </a:lvl3pPr>
            <a:lvl4pPr>
              <a:defRPr>
                <a:latin typeface="Intro Regular" panose="02000000000000000000" pitchFamily="50" charset="0"/>
                <a:sym typeface="+mn-lt"/>
              </a:defRPr>
            </a:lvl4pPr>
          </a:lstStyle>
          <a:p>
            <a:pPr lvl="0"/>
            <a:r>
              <a:rPr lang="en-US"/>
              <a:t>Click to edit Master text styles – Level 0</a:t>
            </a:r>
          </a:p>
          <a:p>
            <a:pPr lvl="1"/>
            <a:r>
              <a:rPr lang="en-US"/>
              <a:t>Level 1</a:t>
            </a:r>
          </a:p>
          <a:p>
            <a:pPr lvl="2"/>
            <a:r>
              <a:rPr lang="en-US"/>
              <a:t>Level 2</a:t>
            </a:r>
          </a:p>
          <a:p>
            <a:pPr lvl="3"/>
            <a:r>
              <a:rPr lang="en-US"/>
              <a:t>Level 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B27BA2-BFAE-3C4B-8F49-D4C25B48D4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11580"/>
            <a:ext cx="12192000" cy="1246421"/>
          </a:xfrm>
          <a:prstGeom prst="rect">
            <a:avLst/>
          </a:pr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5CE0CC26-B75E-2944-92FC-C47DA0AC8C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7348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58474A-0079-5343-B191-80883AFD59A3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0" name="Slide Number Line">
            <a:extLst>
              <a:ext uri="{FF2B5EF4-FFF2-40B4-BE49-F238E27FC236}">
                <a16:creationId xmlns:a16="http://schemas.microsoft.com/office/drawing/2014/main" id="{78FC8339-2E86-B64D-B3FF-580D326D81B9}"/>
              </a:ext>
            </a:extLst>
          </p:cNvPr>
          <p:cNvSpPr>
            <a:spLocks noChangeShapeType="1"/>
          </p:cNvSpPr>
          <p:nvPr userDrawn="1"/>
        </p:nvSpPr>
        <p:spPr bwMode="auto">
          <a:xfrm rot="5400000">
            <a:off x="1096280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6C8326C-CF77-1542-BC6E-ECF470E9FCD5}"/>
              </a:ext>
            </a:extLst>
          </p:cNvPr>
          <p:cNvSpPr/>
          <p:nvPr userDrawn="1"/>
        </p:nvSpPr>
        <p:spPr>
          <a:xfrm>
            <a:off x="1005419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04BC5F-5787-4D13-B0B0-ACC00455A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380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01E9AC-62B5-4BAC-AABD-747F2217E8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7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01E9AC-62B5-4BAC-AABD-747F2217E8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1DF303A-CB87-4F05-B5F4-32DE740DC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5" y="1706400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7981" y="1706400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57E71D-AEB9-3D4D-9C48-BA8506AE10F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11580"/>
            <a:ext cx="12192000" cy="1246421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703A7F9A-E145-F54D-8BFE-514C865B9A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7348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B2E680-5105-1848-B613-A3042B825ACB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9" name="Slide Number Line">
            <a:extLst>
              <a:ext uri="{FF2B5EF4-FFF2-40B4-BE49-F238E27FC236}">
                <a16:creationId xmlns:a16="http://schemas.microsoft.com/office/drawing/2014/main" id="{473A5451-545F-454E-A523-25D0AE8B2AC4}"/>
              </a:ext>
            </a:extLst>
          </p:cNvPr>
          <p:cNvSpPr>
            <a:spLocks noChangeShapeType="1"/>
          </p:cNvSpPr>
          <p:nvPr userDrawn="1"/>
        </p:nvSpPr>
        <p:spPr bwMode="auto">
          <a:xfrm rot="5400000">
            <a:off x="1096280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CA601C-BE32-334C-A7E6-652B01A48589}"/>
              </a:ext>
            </a:extLst>
          </p:cNvPr>
          <p:cNvSpPr/>
          <p:nvPr userDrawn="1"/>
        </p:nvSpPr>
        <p:spPr>
          <a:xfrm>
            <a:off x="1005419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18C90E-6269-414E-8D9D-A06183D26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925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&amp; HLs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F21BE12-7F5C-4AB5-B9A9-8F0C09891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798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F21BE12-7F5C-4AB5-B9A9-8F0C09891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EA14439-A3EF-40D5-B5A7-0921F51223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0000" y="1440000"/>
            <a:ext cx="5400000" cy="1200585"/>
          </a:xfrm>
        </p:spPr>
        <p:txBody>
          <a:bodyPr/>
          <a:lstStyle>
            <a:lvl1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1pPr>
            <a:lvl2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2pPr>
            <a:lvl3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3pPr>
            <a:lvl4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17095" y="1440000"/>
            <a:ext cx="5400000" cy="1200585"/>
          </a:xfrm>
        </p:spPr>
        <p:txBody>
          <a:bodyPr/>
          <a:lstStyle>
            <a:lvl1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1pPr>
            <a:lvl2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2pPr>
            <a:lvl3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3pPr>
            <a:lvl4pPr>
              <a:spcBef>
                <a:spcPts val="0"/>
              </a:spcBef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6417094" y="1080000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45881AEB-D6BB-4607-A3C5-C1A19FEBD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1080000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E73E5F-F551-9644-B432-8727AF696A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11580"/>
            <a:ext cx="12192000" cy="1246421"/>
          </a:xfrm>
          <a:prstGeom prst="rect">
            <a:avLst/>
          </a:pr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91631DC9-8DEA-924F-96C2-278AC59E12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7348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B68097D-F0FA-8842-B5DE-4C0D0C515FCB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2" name="Slide Number Line">
            <a:extLst>
              <a:ext uri="{FF2B5EF4-FFF2-40B4-BE49-F238E27FC236}">
                <a16:creationId xmlns:a16="http://schemas.microsoft.com/office/drawing/2014/main" id="{70997974-5B1D-674E-8D66-A9CD459680DB}"/>
              </a:ext>
            </a:extLst>
          </p:cNvPr>
          <p:cNvSpPr>
            <a:spLocks noChangeShapeType="1"/>
          </p:cNvSpPr>
          <p:nvPr userDrawn="1"/>
        </p:nvSpPr>
        <p:spPr bwMode="auto">
          <a:xfrm rot="5400000">
            <a:off x="1096280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5EC034-431A-2546-A8BE-30C85B7BC4B9}"/>
              </a:ext>
            </a:extLst>
          </p:cNvPr>
          <p:cNvSpPr/>
          <p:nvPr userDrawn="1"/>
        </p:nvSpPr>
        <p:spPr>
          <a:xfrm>
            <a:off x="1005419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D7C251-F470-47A4-A481-0669BA9E2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4461"/>
            <a:ext cx="10079440" cy="598336"/>
          </a:xfrm>
        </p:spPr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4748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3 Collums &amp; HLs W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CC13C-0BAB-48C7-B8C0-1DE12AD4D0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044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CC13C-0BAB-48C7-B8C0-1DE12AD4D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D507295-6CC1-43B8-8ECD-8C1BEC1259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9999" y="1439845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220525" y="1439845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90262" y="1439845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2CB13EE1-C9DD-4E01-A42A-6B0BFDE3BB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999" y="1079727"/>
            <a:ext cx="36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88D4BD1-6449-47C6-8541-8071C03F17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525" y="1079727"/>
            <a:ext cx="3600000" cy="275717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425462-15C0-4B11-A768-07D261D7FE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90262" y="1079727"/>
            <a:ext cx="3600000" cy="276358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24461B-E1A3-2B46-8648-CB1D17722E5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11580"/>
            <a:ext cx="12192000" cy="1246421"/>
          </a:xfrm>
          <a:prstGeom prst="rect">
            <a:avLst/>
          </a:pr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8ABA034C-9FA0-4049-A273-6AA96B561D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7348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556924-7314-6741-B722-445126FFCE2F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13" name="Slide Number Line">
            <a:extLst>
              <a:ext uri="{FF2B5EF4-FFF2-40B4-BE49-F238E27FC236}">
                <a16:creationId xmlns:a16="http://schemas.microsoft.com/office/drawing/2014/main" id="{A44CCD96-480C-1D47-9AA8-9EB8EB573B8B}"/>
              </a:ext>
            </a:extLst>
          </p:cNvPr>
          <p:cNvSpPr>
            <a:spLocks noChangeShapeType="1"/>
          </p:cNvSpPr>
          <p:nvPr userDrawn="1"/>
        </p:nvSpPr>
        <p:spPr bwMode="auto">
          <a:xfrm rot="5400000">
            <a:off x="1096280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4BC215F-697B-1940-9323-271BB3405B92}"/>
              </a:ext>
            </a:extLst>
          </p:cNvPr>
          <p:cNvSpPr/>
          <p:nvPr userDrawn="1"/>
        </p:nvSpPr>
        <p:spPr>
          <a:xfrm>
            <a:off x="1005419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3BB19E-55E9-4F74-98CE-C875284B46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4461"/>
            <a:ext cx="10079440" cy="598336"/>
          </a:xfrm>
        </p:spPr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164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LIGH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FC867A-E033-43A8-8CB1-A7A43633F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04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FC867A-E033-43A8-8CB1-A7A43633F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25A9DFE-5745-4469-AA4A-91044C8D36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49CACD-3DAA-B14A-9776-B120F5D4EE3F}"/>
              </a:ext>
            </a:extLst>
          </p:cNvPr>
          <p:cNvSpPr txBox="1"/>
          <p:nvPr userDrawn="1"/>
        </p:nvSpPr>
        <p:spPr>
          <a:xfrm>
            <a:off x="3100253" y="653144"/>
            <a:ext cx="65" cy="20858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1500" b="0" noProof="0">
              <a:latin typeface="+mn-lt"/>
              <a:cs typeface="Arial Narrow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E42B3C-95AF-485C-897A-8B6AAB5013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5417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1 Collum LIGH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3AF916-1853-4346-AC67-3E72C6F360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45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3AF916-1853-4346-AC67-3E72C6F360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2C91D-6A1C-45AA-AC78-3F81B5723F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EF8A00-F43D-AE4E-9032-D8BF16C10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706400"/>
            <a:ext cx="11461749" cy="1307409"/>
          </a:xfrm>
        </p:spPr>
        <p:txBody>
          <a:bodyPr wrap="square">
            <a:spAutoFit/>
          </a:bodyPr>
          <a:lstStyle>
            <a:lvl1pPr>
              <a:defRPr>
                <a:latin typeface="Intro Regular" panose="02000000000000000000" pitchFamily="50" charset="0"/>
                <a:sym typeface="+mn-lt"/>
              </a:defRPr>
            </a:lvl1pPr>
            <a:lvl2pPr>
              <a:defRPr>
                <a:latin typeface="Intro Regular" panose="02000000000000000000" pitchFamily="50" charset="0"/>
                <a:sym typeface="+mn-lt"/>
              </a:defRPr>
            </a:lvl2pPr>
            <a:lvl3pPr>
              <a:defRPr>
                <a:latin typeface="Intro Regular" panose="02000000000000000000" pitchFamily="50" charset="0"/>
                <a:sym typeface="+mn-lt"/>
              </a:defRPr>
            </a:lvl3pPr>
            <a:lvl4pPr>
              <a:defRPr>
                <a:latin typeface="Intro Regular" panose="02000000000000000000" pitchFamily="50" charset="0"/>
                <a:sym typeface="+mn-lt"/>
              </a:defRPr>
            </a:lvl4pPr>
          </a:lstStyle>
          <a:p>
            <a:pPr lvl="0"/>
            <a:r>
              <a:rPr lang="en-US"/>
              <a:t>Click to edit Master text styles – Level 0</a:t>
            </a:r>
          </a:p>
          <a:p>
            <a:pPr lvl="1"/>
            <a:r>
              <a:rPr lang="en-US"/>
              <a:t>Level 1</a:t>
            </a:r>
          </a:p>
          <a:p>
            <a:pPr lvl="2"/>
            <a:r>
              <a:rPr lang="en-US"/>
              <a:t>Level 2</a:t>
            </a:r>
          </a:p>
          <a:p>
            <a:pPr lvl="3"/>
            <a:r>
              <a:rPr lang="en-US"/>
              <a:t>Level 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14D36F-8C0D-48CF-AA75-5753EBA523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993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157D77-0B20-4776-A596-ADA81518E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5090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157D77-0B20-4776-A596-ADA81518E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E9AC22-66BC-4B9E-BE1A-E8AF301490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3687182-C993-4992-BB13-E3A0133E7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30474"/>
          <a:stretch/>
        </p:blipFill>
        <p:spPr>
          <a:xfrm>
            <a:off x="0" y="4535424"/>
            <a:ext cx="12192000" cy="23225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ECD84B0-CC30-EA41-B653-33C07050B42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823029"/>
            <a:ext cx="12192000" cy="182665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D92A0BA-91A1-414D-B548-8007E3154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706400"/>
            <a:ext cx="11462400" cy="409175"/>
          </a:xfrm>
        </p:spPr>
        <p:txBody>
          <a:bodyPr/>
          <a:lstStyle>
            <a:lvl1pPr algn="ctr">
              <a:defRPr sz="2800" b="1" i="0">
                <a:solidFill>
                  <a:schemeClr val="bg1"/>
                </a:solidFill>
                <a:latin typeface="Intro Bold" panose="02000000000000000000" pitchFamily="50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01A323F-B730-424C-854F-14AD83E3D0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3240000"/>
            <a:ext cx="11462400" cy="349971"/>
          </a:xfrm>
        </p:spPr>
        <p:txBody>
          <a:bodyPr/>
          <a:lstStyle>
            <a:lvl1pPr algn="ctr">
              <a:defRPr lang="en-US" sz="1600" b="0" spc="300" dirty="0">
                <a:solidFill>
                  <a:schemeClr val="bg2"/>
                </a:solidFill>
              </a:defRPr>
            </a:lvl1pPr>
            <a:lvl2pPr marL="0" indent="0" algn="ctr">
              <a:buFont typeface="Arial" panose="020B0604020202020204" pitchFamily="34" charset="0"/>
              <a:buNone/>
              <a:defRPr lang="en-US" sz="1600" b="0" i="0" kern="1200" spc="300" baseline="0" dirty="0">
                <a:solidFill>
                  <a:schemeClr val="tx1"/>
                </a:solidFill>
                <a:latin typeface="+mn-lt"/>
                <a:ea typeface="+mj-ea"/>
                <a:cs typeface="+mj-cs"/>
                <a:sym typeface="+mn-lt"/>
              </a:defRPr>
            </a:lvl2pPr>
          </a:lstStyle>
          <a:p>
            <a:r>
              <a:rPr lang="en-US" sz="1600" b="0">
                <a:latin typeface="+mn-lt"/>
              </a:rPr>
              <a:t>CLICK TO EDIT SUBTITL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405E0F82-C261-7A47-98FA-EE9DD5EF7C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23656" y="4821959"/>
            <a:ext cx="4735088" cy="182358"/>
          </a:xfrm>
        </p:spPr>
        <p:txBody>
          <a:bodyPr/>
          <a:lstStyle>
            <a:lvl1pPr algn="ctr"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Datum 01.01.2020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906994-B3A6-4A2C-8AE6-DFC71D9097B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9010" y="453761"/>
            <a:ext cx="1381910" cy="30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819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LIGH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B4DD42-D10B-4F8D-BA0D-04D4D410C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01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B4DD42-D10B-4F8D-BA0D-04D4D410C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BBBAE3A-7A5E-4779-B4B0-5486646DDC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3" y="1709333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0000" y="1709333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D2D1D0-F8CC-4F7D-8A82-C471ED44B2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55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Collums &amp; HLs LIGH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67A332-DD81-45F6-BBD6-3A1B798DD2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137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67A332-DD81-45F6-BBD6-3A1B798DD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1CE6710-5937-4587-86E2-074939E95C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60000" y="1440977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19770" y="1440977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6419770" y="1080859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45881AEB-D6BB-4607-A3C5-C1A19FEBD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1080859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B33BA7-2719-4DC0-8A11-8DEA4FE02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4461"/>
            <a:ext cx="10079440" cy="598336"/>
          </a:xfrm>
        </p:spPr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9574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3 Collums &amp; HLs LIGHT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ABC61F-AB7C-45DD-9384-B7D6E95F3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56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ABC61F-AB7C-45DD-9384-B7D6E95F3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F50D7F7-6112-4883-9516-C8769D7D53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9999" y="1440000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220525" y="1440000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90262" y="1440000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2CB13EE1-C9DD-4E01-A42A-6B0BFDE3BB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999" y="1080000"/>
            <a:ext cx="3600000" cy="288797"/>
          </a:xfrm>
        </p:spPr>
        <p:txBody>
          <a:bodyPr/>
          <a:lstStyle>
            <a:lvl1pPr>
              <a:defRPr sz="1663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88D4BD1-6449-47C6-8541-8071C03F17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525" y="1080000"/>
            <a:ext cx="3600000" cy="275717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425462-15C0-4B11-A768-07D261D7FE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90262" y="1080000"/>
            <a:ext cx="3600000" cy="287323"/>
          </a:xfrm>
        </p:spPr>
        <p:txBody>
          <a:bodyPr/>
          <a:lstStyle>
            <a:lvl1pPr>
              <a:defRPr lang="en-US" sz="1663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C3A950-6365-4A51-8B6A-A1D3E9F9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144461"/>
            <a:ext cx="10079440" cy="598336"/>
          </a:xfrm>
        </p:spPr>
        <p:txBody>
          <a:bodyPr/>
          <a:lstStyle/>
          <a:p>
            <a:r>
              <a:rPr lang="en-US" noProof="0"/>
              <a:t>CLICK TO EDIT TITLE</a:t>
            </a:r>
            <a:br>
              <a:rPr lang="en-US" noProof="0"/>
            </a:br>
            <a:r>
              <a:rPr lang="en-US" noProof="0"/>
              <a:t>SECOND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5161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title + HL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620B11-87A9-4FB5-BBE3-E1CCB2DF8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019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620B11-87A9-4FB5-BBE3-E1CCB2DF8C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3BA0C7-0B58-4F44-BBA0-EE1B9F401E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9" name="Title Placeholder">
            <a:extLst>
              <a:ext uri="{FF2B5EF4-FFF2-40B4-BE49-F238E27FC236}">
                <a16:creationId xmlns:a16="http://schemas.microsoft.com/office/drawing/2014/main" id="{2574755E-A2DF-F44D-B849-935F110EC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760092"/>
            <a:ext cx="11462400" cy="60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49CACD-3DAA-B14A-9776-B120F5D4EE3F}"/>
              </a:ext>
            </a:extLst>
          </p:cNvPr>
          <p:cNvSpPr txBox="1"/>
          <p:nvPr userDrawn="1"/>
        </p:nvSpPr>
        <p:spPr>
          <a:xfrm>
            <a:off x="3100253" y="653144"/>
            <a:ext cx="65" cy="20858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endParaRPr lang="en-US" sz="1500" b="0" noProof="0">
              <a:latin typeface="+mn-lt"/>
              <a:cs typeface="Arial Narrow" pitchFamily="34" charset="0"/>
            </a:endParaRP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09804A37-7C7F-1D49-828C-95F6186942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53761"/>
            <a:ext cx="10420442" cy="242695"/>
          </a:xfrm>
        </p:spPr>
        <p:txBody>
          <a:bodyPr/>
          <a:lstStyle>
            <a:lvl1pPr>
              <a:defRPr sz="1400" b="1" i="0">
                <a:solidFill>
                  <a:schemeClr val="accent2"/>
                </a:solidFill>
                <a:latin typeface="Intro SemiBold" panose="02000000000000000000" pitchFamily="2" charset="77"/>
              </a:defRPr>
            </a:lvl1pPr>
          </a:lstStyle>
          <a:p>
            <a:pPr lvl="0"/>
            <a:r>
              <a:rPr lang="de-DE"/>
              <a:t>PRETIT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172422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title + HL + 1 Collum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5CD55D-88C1-44C1-B592-D3866EF96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75775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3" imgH="273" progId="TCLayout.ActiveDocument.1">
                  <p:embed/>
                </p:oleObj>
              </mc:Choice>
              <mc:Fallback>
                <p:oleObj name="think-cell Slide" r:id="rId6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5CD55D-88C1-44C1-B592-D3866EF96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80B561-5DBC-4B16-BFF1-B46D979C7E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EF8A00-F43D-AE4E-9032-D8BF16C10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6" y="1706400"/>
            <a:ext cx="11462400" cy="1307409"/>
          </a:xfrm>
        </p:spPr>
        <p:txBody>
          <a:bodyPr/>
          <a:lstStyle>
            <a:lvl1pPr>
              <a:defRPr sz="1800">
                <a:latin typeface="Intro Regular" panose="02000000000000000000" pitchFamily="50" charset="0"/>
                <a:sym typeface="+mn-lt"/>
              </a:defRPr>
            </a:lvl1pPr>
            <a:lvl2pPr>
              <a:defRPr sz="1800">
                <a:latin typeface="Intro Regular" panose="02000000000000000000" pitchFamily="50" charset="0"/>
                <a:sym typeface="+mn-lt"/>
              </a:defRPr>
            </a:lvl2pPr>
            <a:lvl3pPr>
              <a:defRPr sz="1800">
                <a:latin typeface="Intro Regular" panose="02000000000000000000" pitchFamily="50" charset="0"/>
                <a:sym typeface="+mn-lt"/>
              </a:defRPr>
            </a:lvl3pPr>
            <a:lvl4pPr>
              <a:defRPr sz="1800">
                <a:latin typeface="Intro Regular" panose="02000000000000000000" pitchFamily="50" charset="0"/>
                <a:sym typeface="+mn-lt"/>
              </a:defRPr>
            </a:lvl4pPr>
          </a:lstStyle>
          <a:p>
            <a:pPr lvl="0"/>
            <a:r>
              <a:rPr lang="en-US"/>
              <a:t>Click to edit Master text styles – Level 0</a:t>
            </a:r>
          </a:p>
          <a:p>
            <a:pPr lvl="1"/>
            <a:r>
              <a:rPr lang="en-US"/>
              <a:t>Level 1</a:t>
            </a:r>
          </a:p>
          <a:p>
            <a:pPr lvl="2"/>
            <a:r>
              <a:rPr lang="en-US"/>
              <a:t>Level 2</a:t>
            </a:r>
          </a:p>
          <a:p>
            <a:pPr lvl="3"/>
            <a:r>
              <a:rPr lang="en-US"/>
              <a:t>Level 3</a:t>
            </a:r>
          </a:p>
        </p:txBody>
      </p:sp>
      <p:sp>
        <p:nvSpPr>
          <p:cNvPr id="16" name="Title Placeholder">
            <a:extLst>
              <a:ext uri="{FF2B5EF4-FFF2-40B4-BE49-F238E27FC236}">
                <a16:creationId xmlns:a16="http://schemas.microsoft.com/office/drawing/2014/main" id="{641F2494-74D7-5847-9C08-A7B8C5FE2B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760092"/>
            <a:ext cx="11462400" cy="60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68E99CF-A4FA-9C44-847A-BFABF4DE5C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53761"/>
            <a:ext cx="10420442" cy="242695"/>
          </a:xfrm>
        </p:spPr>
        <p:txBody>
          <a:bodyPr/>
          <a:lstStyle>
            <a:lvl1pPr>
              <a:defRPr sz="1400" b="1" i="0">
                <a:solidFill>
                  <a:schemeClr val="accent2"/>
                </a:solidFill>
                <a:latin typeface="Intro SemiBold" panose="02000000000000000000" pitchFamily="2" charset="77"/>
              </a:defRPr>
            </a:lvl1pPr>
          </a:lstStyle>
          <a:p>
            <a:pPr lvl="0"/>
            <a:r>
              <a:rPr lang="de-DE"/>
              <a:t>PRETIT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89611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title + HL + 2 Collum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20CA6D-5B84-4997-8B1A-6E1F61139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666224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20CA6D-5B84-4997-8B1A-6E1F61139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9F002A-1018-4896-9955-42D7F1FEF5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6" y="1706400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1176" y="1706400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">
            <a:extLst>
              <a:ext uri="{FF2B5EF4-FFF2-40B4-BE49-F238E27FC236}">
                <a16:creationId xmlns:a16="http://schemas.microsoft.com/office/drawing/2014/main" id="{82FF6DA8-AF29-A54E-B62D-C0BC7AE28A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760092"/>
            <a:ext cx="11462400" cy="60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8" name="Textplatzhalter 16">
            <a:extLst>
              <a:ext uri="{FF2B5EF4-FFF2-40B4-BE49-F238E27FC236}">
                <a16:creationId xmlns:a16="http://schemas.microsoft.com/office/drawing/2014/main" id="{2AAC1CBA-036B-814D-ADA4-3C5967E8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53761"/>
            <a:ext cx="10420442" cy="242695"/>
          </a:xfrm>
        </p:spPr>
        <p:txBody>
          <a:bodyPr/>
          <a:lstStyle>
            <a:lvl1pPr>
              <a:defRPr sz="1400" b="1" i="0">
                <a:solidFill>
                  <a:schemeClr val="accent2"/>
                </a:solidFill>
                <a:latin typeface="Intro SemiBold" panose="02000000000000000000" pitchFamily="2" charset="77"/>
              </a:defRPr>
            </a:lvl1pPr>
          </a:lstStyle>
          <a:p>
            <a:pPr lvl="0"/>
            <a:r>
              <a:rPr lang="de-DE"/>
              <a:t>PRETIT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300478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title + HL + 2 Collums &amp; HL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028DFE-72AC-431D-A1E5-5CAA7ADD8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6181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028DFE-72AC-431D-A1E5-5CAA7ADD8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A5807D3-C1EB-4C14-8C72-A0A70E5D33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6" y="2426676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6421176" y="2426676"/>
            <a:ext cx="54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6421176" y="2066558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45881AEB-D6BB-4607-A3C5-C1A19FEBD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8776" y="2066558"/>
            <a:ext cx="54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">
            <a:extLst>
              <a:ext uri="{FF2B5EF4-FFF2-40B4-BE49-F238E27FC236}">
                <a16:creationId xmlns:a16="http://schemas.microsoft.com/office/drawing/2014/main" id="{3447103F-E9DC-C740-855B-8B5634173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760092"/>
            <a:ext cx="11462400" cy="60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7591DA19-1B49-004F-99AA-805C10313C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53761"/>
            <a:ext cx="10420442" cy="242695"/>
          </a:xfrm>
        </p:spPr>
        <p:txBody>
          <a:bodyPr/>
          <a:lstStyle>
            <a:lvl1pPr>
              <a:defRPr sz="1400" b="1" i="0">
                <a:solidFill>
                  <a:schemeClr val="accent2"/>
                </a:solidFill>
                <a:latin typeface="Intro SemiBold" panose="02000000000000000000" pitchFamily="2" charset="77"/>
              </a:defRPr>
            </a:lvl1pPr>
          </a:lstStyle>
          <a:p>
            <a:pPr lvl="0"/>
            <a:r>
              <a:rPr lang="de-DE"/>
              <a:t>PRETIT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25466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title + HL + 3 Collums &amp; HLs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6859D4-959B-413D-A317-32969B3FD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287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6859D4-959B-413D-A317-32969B3FD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72F341D-71E0-44E2-B9D3-CA7A2CDEEEF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358776" y="2071217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221176" y="2071217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89976" y="2071217"/>
            <a:ext cx="3600000" cy="1162113"/>
          </a:xfrm>
        </p:spPr>
        <p:txBody>
          <a:bodyPr/>
          <a:lstStyle>
            <a:lvl1pPr>
              <a:defRPr sz="1600">
                <a:latin typeface="Intro Regular" panose="02000000000000000000" pitchFamily="50" charset="0"/>
              </a:defRPr>
            </a:lvl1pPr>
            <a:lvl2pPr>
              <a:defRPr sz="1600">
                <a:latin typeface="Intro Regular" panose="02000000000000000000" pitchFamily="50" charset="0"/>
              </a:defRPr>
            </a:lvl2pPr>
            <a:lvl3pPr>
              <a:defRPr sz="1600">
                <a:latin typeface="Intro Regular" panose="02000000000000000000" pitchFamily="50" charset="0"/>
              </a:defRPr>
            </a:lvl3pPr>
            <a:lvl4pPr>
              <a:defRPr sz="1600">
                <a:latin typeface="Intro Regular" panose="02000000000000000000" pitchFamily="50" charset="0"/>
              </a:defRPr>
            </a:lvl4pPr>
            <a:lvl5pPr>
              <a:defRPr sz="14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2CB13EE1-C9DD-4E01-A42A-6B0BFDE3BB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776" y="1706400"/>
            <a:ext cx="3600000" cy="275717"/>
          </a:xfrm>
        </p:spPr>
        <p:txBody>
          <a:bodyPr/>
          <a:lstStyle>
            <a:lvl1pPr>
              <a:defRPr sz="1600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588D4BD1-6449-47C6-8541-8071C03F17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1176" y="1706400"/>
            <a:ext cx="3600000" cy="275717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85425462-15C0-4B11-A768-07D261D7FE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89976" y="1706400"/>
            <a:ext cx="3600000" cy="276358"/>
          </a:xfrm>
        </p:spPr>
        <p:txBody>
          <a:bodyPr/>
          <a:lstStyle>
            <a:lvl1pPr>
              <a:defRPr lang="en-US" sz="1600" b="0" i="0" kern="1200" baseline="0" dirty="0" smtClean="0">
                <a:solidFill>
                  <a:schemeClr val="accent2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marL="0" lv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3" name="Title Placeholder">
            <a:extLst>
              <a:ext uri="{FF2B5EF4-FFF2-40B4-BE49-F238E27FC236}">
                <a16:creationId xmlns:a16="http://schemas.microsoft.com/office/drawing/2014/main" id="{E3466716-BC6F-E74B-A658-5529498B1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760092"/>
            <a:ext cx="11462400" cy="60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TITLE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id="{90AAC338-8C22-4945-A212-FEFB04B20A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53761"/>
            <a:ext cx="10420442" cy="242695"/>
          </a:xfrm>
        </p:spPr>
        <p:txBody>
          <a:bodyPr/>
          <a:lstStyle>
            <a:lvl1pPr>
              <a:defRPr sz="1400" b="1" i="0">
                <a:solidFill>
                  <a:schemeClr val="accent2"/>
                </a:solidFill>
                <a:latin typeface="Intro SemiBold" panose="02000000000000000000" pitchFamily="2" charset="77"/>
              </a:defRPr>
            </a:lvl1pPr>
          </a:lstStyle>
          <a:p>
            <a:pPr lvl="0"/>
            <a:r>
              <a:rPr lang="de-DE"/>
              <a:t>PRETITL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128463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Embedded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D8EAFBE-7B41-EF40-A3D1-55EEE8838B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8775" y="1092699"/>
            <a:ext cx="11461750" cy="5431926"/>
          </a:xfrm>
          <a:effectLst>
            <a:outerShdw blurRad="152400" dir="2700000" sx="120000" sy="120000" algn="tl" rotWithShape="0">
              <a:prstClr val="black">
                <a:alpha val="10000"/>
              </a:prstClr>
            </a:outerShdw>
          </a:effectLst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726592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am + Mission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lage of people&#10;&#10;Description automatically generated with medium confidence">
            <a:extLst>
              <a:ext uri="{FF2B5EF4-FFF2-40B4-BE49-F238E27FC236}">
                <a16:creationId xmlns:a16="http://schemas.microsoft.com/office/drawing/2014/main" id="{11EDB243-6F24-4BBA-B862-EF3662D099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2" y="0"/>
            <a:ext cx="12185196" cy="6858000"/>
          </a:xfrm>
          <a:prstGeom prst="rect">
            <a:avLst/>
          </a:prstGeom>
        </p:spPr>
      </p:pic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49694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F56EBB5-3EC2-4B8C-9C4C-A47739EE39C4}"/>
              </a:ext>
            </a:extLst>
          </p:cNvPr>
          <p:cNvSpPr txBox="1"/>
          <p:nvPr userDrawn="1"/>
        </p:nvSpPr>
        <p:spPr>
          <a:xfrm>
            <a:off x="2919046" y="2612327"/>
            <a:ext cx="6450467" cy="99854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2400" b="0" noProof="0" err="1">
                <a:latin typeface="+mn-lt"/>
                <a:cs typeface="Arial Narrow" pitchFamily="34" charset="0"/>
              </a:rPr>
              <a:t>Wir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entwickeln</a:t>
            </a:r>
            <a:r>
              <a:rPr lang="en-US" sz="2400" b="0" noProof="0">
                <a:latin typeface="+mn-lt"/>
                <a:cs typeface="Arial Narrow" pitchFamily="34" charset="0"/>
              </a:rPr>
              <a:t> die </a:t>
            </a:r>
            <a:r>
              <a:rPr lang="en-US" sz="2400" b="1" noProof="0" err="1">
                <a:latin typeface="+mj-lt"/>
                <a:cs typeface="Arial Narrow" pitchFamily="34" charset="0"/>
              </a:rPr>
              <a:t>kundenzentrierte</a:t>
            </a:r>
            <a:r>
              <a:rPr lang="en-US" sz="2400" b="1" noProof="0">
                <a:latin typeface="+mj-lt"/>
                <a:cs typeface="Arial Narrow" pitchFamily="34" charset="0"/>
              </a:rPr>
              <a:t> </a:t>
            </a:r>
            <a:r>
              <a:rPr lang="en-US" sz="2400" b="1" noProof="0" err="1">
                <a:latin typeface="+mj-lt"/>
                <a:cs typeface="Arial Narrow" pitchFamily="34" charset="0"/>
              </a:rPr>
              <a:t>Beratung</a:t>
            </a:r>
            <a:r>
              <a:rPr lang="en-US" sz="2400" b="1" noProof="0">
                <a:latin typeface="+mj-lt"/>
                <a:cs typeface="Arial Narrow" pitchFamily="34" charset="0"/>
              </a:rPr>
              <a:t> der Zukunft</a:t>
            </a:r>
            <a:r>
              <a:rPr lang="en-US" sz="2400" b="0" noProof="0">
                <a:latin typeface="+mn-lt"/>
                <a:cs typeface="Arial Narrow" pitchFamily="34" charset="0"/>
              </a:rPr>
              <a:t>,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für</a:t>
            </a:r>
            <a:r>
              <a:rPr lang="en-US" sz="2400" b="0" noProof="0">
                <a:latin typeface="+mn-lt"/>
                <a:cs typeface="Arial Narrow" pitchFamily="34" charset="0"/>
              </a:rPr>
              <a:t> und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mit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unseren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Partnern</a:t>
            </a:r>
            <a:r>
              <a:rPr lang="en-US" sz="2400" b="0" noProof="0">
                <a:latin typeface="+mn-lt"/>
                <a:cs typeface="Arial Narrow" pitchFamily="34" charset="0"/>
              </a:rPr>
              <a:t> der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Finanzindustrie</a:t>
            </a:r>
            <a:r>
              <a:rPr lang="en-US" sz="2400" b="0" noProof="0">
                <a:latin typeface="+mn-lt"/>
                <a:cs typeface="Arial Narrow" pitchFamily="34" charset="0"/>
              </a:rPr>
              <a:t>. </a:t>
            </a:r>
            <a:endParaRPr lang="de-AT" sz="2400" b="0" noProof="0">
              <a:latin typeface="+mn-lt"/>
              <a:cs typeface="Arial Narrow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9D92289-A413-42B8-9A32-5A99FF1344A9}"/>
              </a:ext>
            </a:extLst>
          </p:cNvPr>
          <p:cNvSpPr txBox="1"/>
          <p:nvPr userDrawn="1"/>
        </p:nvSpPr>
        <p:spPr>
          <a:xfrm>
            <a:off x="3300044" y="4935415"/>
            <a:ext cx="5791201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 b="1">
                <a:cs typeface="Arial Narrow" pitchFamily="34" charset="0"/>
              </a:rPr>
              <a:t>Dr. Ralf </a:t>
            </a:r>
            <a:r>
              <a:rPr lang="en-US" sz="1200" b="1" err="1">
                <a:cs typeface="Arial Narrow" pitchFamily="34" charset="0"/>
              </a:rPr>
              <a:t>Widtmann</a:t>
            </a:r>
            <a:r>
              <a:rPr lang="en-US" sz="1200" b="1">
                <a:cs typeface="Arial Narrow" pitchFamily="34" charset="0"/>
              </a:rPr>
              <a:t>            </a:t>
            </a:r>
            <a:r>
              <a:rPr lang="en-US" sz="1200">
                <a:cs typeface="Arial Narrow" pitchFamily="34" charset="0"/>
              </a:rPr>
              <a:t>+43 664 840 76 18            ralf.widtmann@riskine.com</a:t>
            </a:r>
            <a:endParaRPr lang="de-AT" sz="1200" b="0" noProof="0">
              <a:latin typeface="+mn-lt"/>
              <a:cs typeface="Arial Narrow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AC1CF1B-147D-4730-98BE-B5F60D318BA3}"/>
              </a:ext>
            </a:extLst>
          </p:cNvPr>
          <p:cNvSpPr txBox="1"/>
          <p:nvPr userDrawn="1"/>
        </p:nvSpPr>
        <p:spPr>
          <a:xfrm>
            <a:off x="5171177" y="2090177"/>
            <a:ext cx="1849335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 b="0" noProof="0">
                <a:latin typeface="+mj-lt"/>
                <a:cs typeface="Arial Narrow" pitchFamily="34" charset="0"/>
              </a:rPr>
              <a:t>UNSERE MISSION:</a:t>
            </a:r>
            <a:endParaRPr lang="de-AT" sz="1200" b="0" noProof="0">
              <a:latin typeface="+mj-lt"/>
              <a:cs typeface="Arial Narrow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A39F88B-0FDE-4B44-BB0E-477FF01B5875}"/>
              </a:ext>
            </a:extLst>
          </p:cNvPr>
          <p:cNvSpPr txBox="1"/>
          <p:nvPr userDrawn="1"/>
        </p:nvSpPr>
        <p:spPr>
          <a:xfrm>
            <a:off x="3048000" y="3246511"/>
            <a:ext cx="6096000" cy="36933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47347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+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592850"/>
              </p:ext>
            </p:extLst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D71509-10EF-474E-8E30-6B9CACA5F4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4461B0C8-E095-4E0E-9328-AB0445DC1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0000" y="3953044"/>
            <a:ext cx="7956000" cy="553998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tabLst>
                <a:tab pos="489556" algn="l"/>
                <a:tab pos="751216" algn="l"/>
              </a:tabLst>
              <a:defRPr sz="4000" b="0" i="0" spc="300">
                <a:solidFill>
                  <a:schemeClr val="accent2"/>
                </a:solidFill>
                <a:latin typeface="Intro Bold" panose="02000000000000000000" pitchFamily="50" charset="0"/>
                <a:sym typeface="+mn-lt"/>
              </a:defRPr>
            </a:lvl1pPr>
          </a:lstStyle>
          <a:p>
            <a:r>
              <a:rPr lang="en-US"/>
              <a:t>A. EDIT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69AC3A-4A79-4AC4-90ED-CC26512E834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8087" y="0"/>
            <a:ext cx="31767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120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am + Mission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ollage of people&#10;&#10;Description automatically generated with medium confidence">
            <a:extLst>
              <a:ext uri="{FF2B5EF4-FFF2-40B4-BE49-F238E27FC236}">
                <a16:creationId xmlns:a16="http://schemas.microsoft.com/office/drawing/2014/main" id="{FBFF7E38-D6BE-4B5B-8FD9-CE66A89455E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2" y="0"/>
            <a:ext cx="12185196" cy="6858000"/>
          </a:xfrm>
          <a:prstGeom prst="rect">
            <a:avLst/>
          </a:prstGeom>
        </p:spPr>
      </p:pic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49694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A39F88B-0FDE-4B44-BB0E-477FF01B5875}"/>
              </a:ext>
            </a:extLst>
          </p:cNvPr>
          <p:cNvSpPr txBox="1"/>
          <p:nvPr userDrawn="1"/>
        </p:nvSpPr>
        <p:spPr>
          <a:xfrm>
            <a:off x="3048000" y="3246511"/>
            <a:ext cx="6096000" cy="36933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endParaRPr lang="de-AT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5C8D62-70B5-48E1-B99E-F7C5C17FAF45}"/>
              </a:ext>
            </a:extLst>
          </p:cNvPr>
          <p:cNvSpPr txBox="1"/>
          <p:nvPr userDrawn="1"/>
        </p:nvSpPr>
        <p:spPr>
          <a:xfrm>
            <a:off x="3300044" y="4935415"/>
            <a:ext cx="5791201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 b="1">
                <a:cs typeface="Arial Narrow" pitchFamily="34" charset="0"/>
              </a:rPr>
              <a:t>Dr. Ralf </a:t>
            </a:r>
            <a:r>
              <a:rPr lang="en-US" sz="1200" b="1" err="1">
                <a:cs typeface="Arial Narrow" pitchFamily="34" charset="0"/>
              </a:rPr>
              <a:t>Widtmann</a:t>
            </a:r>
            <a:r>
              <a:rPr lang="en-US" sz="1200" b="1">
                <a:cs typeface="Arial Narrow" pitchFamily="34" charset="0"/>
              </a:rPr>
              <a:t>            </a:t>
            </a:r>
            <a:r>
              <a:rPr lang="en-US" sz="1200">
                <a:cs typeface="Arial Narrow" pitchFamily="34" charset="0"/>
              </a:rPr>
              <a:t>+43 664 840 76 18            ralf.widtmann@riskine.com</a:t>
            </a:r>
            <a:endParaRPr lang="de-AT" sz="1200" b="0" noProof="0">
              <a:latin typeface="+mn-lt"/>
              <a:cs typeface="Arial Narrow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09D7B6-8825-4142-B00E-2555F0882529}"/>
              </a:ext>
            </a:extLst>
          </p:cNvPr>
          <p:cNvSpPr txBox="1"/>
          <p:nvPr userDrawn="1"/>
        </p:nvSpPr>
        <p:spPr>
          <a:xfrm>
            <a:off x="3001934" y="2584575"/>
            <a:ext cx="6191946" cy="143353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2400" b="0" noProof="0">
                <a:latin typeface="+mn-lt"/>
                <a:cs typeface="Arial Narrow" pitchFamily="34" charset="0"/>
              </a:rPr>
              <a:t>We create the 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2400" b="1" noProof="0">
                <a:latin typeface="+mj-lt"/>
                <a:cs typeface="Arial Narrow" pitchFamily="34" charset="0"/>
              </a:rPr>
              <a:t>customer-centric advisory of the future</a:t>
            </a:r>
            <a:r>
              <a:rPr lang="en-US" sz="2400" b="0" noProof="0">
                <a:latin typeface="+mn-lt"/>
                <a:cs typeface="Arial Narrow" pitchFamily="34" charset="0"/>
              </a:rPr>
              <a:t> for and with our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1" kern="1200" noProof="0">
                <a:solidFill>
                  <a:schemeClr val="tx1"/>
                </a:solidFill>
                <a:latin typeface="+mj-lt"/>
                <a:ea typeface="+mn-ea"/>
                <a:cs typeface="Arial Narrow" pitchFamily="34" charset="0"/>
              </a:rPr>
              <a:t>financial industry partners</a:t>
            </a:r>
            <a:endParaRPr lang="de-AT" sz="2400" b="1" kern="1200" noProof="0">
              <a:solidFill>
                <a:schemeClr val="tx1"/>
              </a:solidFill>
              <a:latin typeface="+mj-lt"/>
              <a:ea typeface="+mn-ea"/>
              <a:cs typeface="Arial Narrow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B17D52-9648-4EF1-BC1B-2C727BC7D430}"/>
              </a:ext>
            </a:extLst>
          </p:cNvPr>
          <p:cNvSpPr txBox="1"/>
          <p:nvPr userDrawn="1"/>
        </p:nvSpPr>
        <p:spPr>
          <a:xfrm>
            <a:off x="5171177" y="2090177"/>
            <a:ext cx="1849335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>
                <a:latin typeface="+mj-lt"/>
                <a:cs typeface="Arial Narrow" pitchFamily="34" charset="0"/>
              </a:rPr>
              <a:t>OUR</a:t>
            </a:r>
            <a:r>
              <a:rPr lang="en-US" sz="1200" b="0" noProof="0">
                <a:latin typeface="+mj-lt"/>
                <a:cs typeface="Arial Narrow" pitchFamily="34" charset="0"/>
              </a:rPr>
              <a:t> MISSION:</a:t>
            </a:r>
            <a:endParaRPr lang="de-AT" sz="1200" b="0" noProof="0">
              <a:latin typeface="+mj-lt"/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101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am + Mission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49694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pic>
        <p:nvPicPr>
          <p:cNvPr id="38" name="Picture 37" descr="A person wearing a black shirt&#10;&#10;Description automatically generated with medium confidence">
            <a:extLst>
              <a:ext uri="{FF2B5EF4-FFF2-40B4-BE49-F238E27FC236}">
                <a16:creationId xmlns:a16="http://schemas.microsoft.com/office/drawing/2014/main" id="{AEE1310C-082B-4B43-ADBB-D17FF20A914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8665" y="1"/>
            <a:ext cx="1354666" cy="1354666"/>
          </a:xfrm>
          <a:prstGeom prst="rect">
            <a:avLst/>
          </a:prstGeom>
        </p:spPr>
      </p:pic>
      <p:pic>
        <p:nvPicPr>
          <p:cNvPr id="46" name="Picture 45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688DBB4D-4366-4180-8F00-24467208494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7329" y="-4"/>
            <a:ext cx="1354671" cy="1354671"/>
          </a:xfrm>
          <a:prstGeom prst="rect">
            <a:avLst/>
          </a:prstGeom>
        </p:spPr>
      </p:pic>
      <p:pic>
        <p:nvPicPr>
          <p:cNvPr id="48" name="Picture 47" descr="A picture containing wall, person, clothing, person&#10;&#10;Description automatically generated">
            <a:extLst>
              <a:ext uri="{FF2B5EF4-FFF2-40B4-BE49-F238E27FC236}">
                <a16:creationId xmlns:a16="http://schemas.microsoft.com/office/drawing/2014/main" id="{09AAD7FB-3C1B-4F4E-B6F5-4B77D6BA67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3999" y="1"/>
            <a:ext cx="1354666" cy="135466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6C8B06E6-81B6-4BFE-AC23-CB0EF817E7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358904" cy="1354666"/>
          </a:xfrm>
          <a:prstGeom prst="rect">
            <a:avLst/>
          </a:prstGeom>
        </p:spPr>
      </p:pic>
      <p:pic>
        <p:nvPicPr>
          <p:cNvPr id="52" name="Picture 51" descr="A person in a white shirt&#10;&#10;Description automatically generated with low confidence">
            <a:extLst>
              <a:ext uri="{FF2B5EF4-FFF2-40B4-BE49-F238E27FC236}">
                <a16:creationId xmlns:a16="http://schemas.microsoft.com/office/drawing/2014/main" id="{97805A13-22CD-43BD-9233-CD047DA8E94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08871"/>
            <a:ext cx="1354667" cy="1389378"/>
          </a:xfrm>
          <a:prstGeom prst="rect">
            <a:avLst/>
          </a:prstGeom>
        </p:spPr>
      </p:pic>
      <p:pic>
        <p:nvPicPr>
          <p:cNvPr id="53" name="Picture 52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A41AE2F0-55D6-4D1D-88F7-56C471BA466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7236" y="5498095"/>
            <a:ext cx="1354702" cy="1359904"/>
          </a:xfrm>
          <a:prstGeom prst="rect">
            <a:avLst/>
          </a:prstGeom>
        </p:spPr>
      </p:pic>
      <p:pic>
        <p:nvPicPr>
          <p:cNvPr id="55" name="Picture 54" descr="A person smiling at the camera&#10;&#10;Description automatically generated with low confidence">
            <a:extLst>
              <a:ext uri="{FF2B5EF4-FFF2-40B4-BE49-F238E27FC236}">
                <a16:creationId xmlns:a16="http://schemas.microsoft.com/office/drawing/2014/main" id="{782EAC5C-B74C-4F57-A437-C8EC73663E5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7692" y="5502537"/>
            <a:ext cx="1354666" cy="1354666"/>
          </a:xfrm>
          <a:prstGeom prst="rect">
            <a:avLst/>
          </a:prstGeom>
        </p:spPr>
      </p:pic>
      <p:pic>
        <p:nvPicPr>
          <p:cNvPr id="56" name="Picture 55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8BFAFE07-6C04-4B9E-9B75-DBB7645A830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4661" y="5503328"/>
            <a:ext cx="1359750" cy="1354671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BEB9C2B-96C6-4D9E-8B9F-22EE08824BB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3997" y="5503296"/>
            <a:ext cx="1354703" cy="1354703"/>
          </a:xfrm>
          <a:prstGeom prst="rect">
            <a:avLst/>
          </a:prstGeom>
        </p:spPr>
      </p:pic>
      <p:pic>
        <p:nvPicPr>
          <p:cNvPr id="58" name="Picture 5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9B9C0F19-A731-4209-BA83-D21A0C79B24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2645" y="-329"/>
            <a:ext cx="1359752" cy="1354672"/>
          </a:xfrm>
          <a:prstGeom prst="rect">
            <a:avLst/>
          </a:prstGeom>
        </p:spPr>
      </p:pic>
      <p:pic>
        <p:nvPicPr>
          <p:cNvPr id="59" name="Picture 58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39A2F28C-E409-4AC0-930C-9D886C6F555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7992" y="-329"/>
            <a:ext cx="1354666" cy="1354666"/>
          </a:xfrm>
          <a:prstGeom prst="rect">
            <a:avLst/>
          </a:prstGeom>
        </p:spPr>
      </p:pic>
      <p:pic>
        <p:nvPicPr>
          <p:cNvPr id="60" name="Picture 59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2A9ECAFF-BCBA-49E6-A8CF-F524297D5E0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7268" y="4116840"/>
            <a:ext cx="1354702" cy="138669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42E60E4F-5613-4203-A612-C83114E2A690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7298" y="2735591"/>
            <a:ext cx="1354702" cy="1386694"/>
          </a:xfrm>
          <a:prstGeom prst="rect">
            <a:avLst/>
          </a:prstGeom>
        </p:spPr>
      </p:pic>
      <p:pic>
        <p:nvPicPr>
          <p:cNvPr id="63" name="Picture 62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C8803BF3-686E-46D5-AB5A-9E391AC2512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7298" y="1354338"/>
            <a:ext cx="1354672" cy="1381584"/>
          </a:xfrm>
          <a:prstGeom prst="rect">
            <a:avLst/>
          </a:prstGeom>
        </p:spPr>
      </p:pic>
      <p:pic>
        <p:nvPicPr>
          <p:cNvPr id="68" name="Picture 67" descr="A person in a blue suit&#10;&#10;Description automatically generated with medium confidence">
            <a:extLst>
              <a:ext uri="{FF2B5EF4-FFF2-40B4-BE49-F238E27FC236}">
                <a16:creationId xmlns:a16="http://schemas.microsoft.com/office/drawing/2014/main" id="{35B48F4B-1FAC-4E47-85CF-3EA3F41BE68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8493" y="5503296"/>
            <a:ext cx="1359784" cy="1349624"/>
          </a:xfrm>
          <a:prstGeom prst="rect">
            <a:avLst/>
          </a:prstGeom>
        </p:spPr>
      </p:pic>
      <p:pic>
        <p:nvPicPr>
          <p:cNvPr id="69" name="Picture 68" descr="A picture containing person, smiling, posing&#10;&#10;Description automatically generated">
            <a:extLst>
              <a:ext uri="{FF2B5EF4-FFF2-40B4-BE49-F238E27FC236}">
                <a16:creationId xmlns:a16="http://schemas.microsoft.com/office/drawing/2014/main" id="{85505C1F-271C-4B74-8DF1-BD01A8431F1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3325" y="5503334"/>
            <a:ext cx="1354666" cy="1354666"/>
          </a:xfrm>
          <a:prstGeom prst="rect">
            <a:avLst/>
          </a:prstGeom>
        </p:spPr>
      </p:pic>
      <p:pic>
        <p:nvPicPr>
          <p:cNvPr id="70" name="Picture 69" descr="A person wearing a grey sweater&#10;&#10;Description automatically generated with low confidence">
            <a:extLst>
              <a:ext uri="{FF2B5EF4-FFF2-40B4-BE49-F238E27FC236}">
                <a16:creationId xmlns:a16="http://schemas.microsoft.com/office/drawing/2014/main" id="{44162F7A-7210-482A-A9BB-27CB765C056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8245" y="-4"/>
            <a:ext cx="1359746" cy="1354666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AF56EBB5-3EC2-4B8C-9C4C-A47739EE39C4}"/>
              </a:ext>
            </a:extLst>
          </p:cNvPr>
          <p:cNvSpPr txBox="1"/>
          <p:nvPr userDrawn="1"/>
        </p:nvSpPr>
        <p:spPr>
          <a:xfrm>
            <a:off x="2919046" y="2612327"/>
            <a:ext cx="6450467" cy="99854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2400" b="0" noProof="0" err="1">
                <a:latin typeface="+mn-lt"/>
                <a:cs typeface="Arial Narrow" pitchFamily="34" charset="0"/>
              </a:rPr>
              <a:t>Wir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entwickeln</a:t>
            </a:r>
            <a:r>
              <a:rPr lang="en-US" sz="2400" b="0" noProof="0">
                <a:latin typeface="+mn-lt"/>
                <a:cs typeface="Arial Narrow" pitchFamily="34" charset="0"/>
              </a:rPr>
              <a:t> die </a:t>
            </a:r>
            <a:r>
              <a:rPr lang="en-US" sz="2400" b="1" noProof="0" err="1">
                <a:latin typeface="+mj-lt"/>
                <a:cs typeface="Arial Narrow" pitchFamily="34" charset="0"/>
              </a:rPr>
              <a:t>kundenzentrierte</a:t>
            </a:r>
            <a:r>
              <a:rPr lang="en-US" sz="2400" b="1" noProof="0">
                <a:latin typeface="+mj-lt"/>
                <a:cs typeface="Arial Narrow" pitchFamily="34" charset="0"/>
              </a:rPr>
              <a:t> </a:t>
            </a:r>
            <a:r>
              <a:rPr lang="en-US" sz="2400" b="1" noProof="0" err="1">
                <a:latin typeface="+mj-lt"/>
                <a:cs typeface="Arial Narrow" pitchFamily="34" charset="0"/>
              </a:rPr>
              <a:t>Beratung</a:t>
            </a:r>
            <a:r>
              <a:rPr lang="en-US" sz="2400" b="1" noProof="0">
                <a:latin typeface="+mj-lt"/>
                <a:cs typeface="Arial Narrow" pitchFamily="34" charset="0"/>
              </a:rPr>
              <a:t> der Zukunft</a:t>
            </a:r>
            <a:r>
              <a:rPr lang="en-US" sz="2400" b="0" noProof="0">
                <a:latin typeface="+mn-lt"/>
                <a:cs typeface="Arial Narrow" pitchFamily="34" charset="0"/>
              </a:rPr>
              <a:t>,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für</a:t>
            </a:r>
            <a:r>
              <a:rPr lang="en-US" sz="2400" b="0" noProof="0">
                <a:latin typeface="+mn-lt"/>
                <a:cs typeface="Arial Narrow" pitchFamily="34" charset="0"/>
              </a:rPr>
              <a:t> und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mit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unseren</a:t>
            </a:r>
            <a:r>
              <a:rPr lang="en-US" sz="2400" b="0" noProof="0">
                <a:latin typeface="+mn-lt"/>
                <a:cs typeface="Arial Narrow" pitchFamily="34" charset="0"/>
              </a:rPr>
              <a:t>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Partnern</a:t>
            </a:r>
            <a:r>
              <a:rPr lang="en-US" sz="2400" b="0" noProof="0">
                <a:latin typeface="+mn-lt"/>
                <a:cs typeface="Arial Narrow" pitchFamily="34" charset="0"/>
              </a:rPr>
              <a:t> der </a:t>
            </a:r>
            <a:r>
              <a:rPr lang="en-US" sz="2400" b="0" noProof="0" err="1">
                <a:latin typeface="+mn-lt"/>
                <a:cs typeface="Arial Narrow" pitchFamily="34" charset="0"/>
              </a:rPr>
              <a:t>Finanzindustrie</a:t>
            </a:r>
            <a:r>
              <a:rPr lang="en-US" sz="2400" b="0" noProof="0">
                <a:latin typeface="+mn-lt"/>
                <a:cs typeface="Arial Narrow" pitchFamily="34" charset="0"/>
              </a:rPr>
              <a:t>. </a:t>
            </a:r>
            <a:endParaRPr lang="de-AT" sz="2400" b="0" noProof="0">
              <a:latin typeface="+mn-lt"/>
              <a:cs typeface="Arial Narrow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9D92289-A413-42B8-9A32-5A99FF1344A9}"/>
              </a:ext>
            </a:extLst>
          </p:cNvPr>
          <p:cNvSpPr txBox="1"/>
          <p:nvPr userDrawn="1"/>
        </p:nvSpPr>
        <p:spPr>
          <a:xfrm>
            <a:off x="3300044" y="4935415"/>
            <a:ext cx="5791201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 b="1">
                <a:cs typeface="Arial Narrow" pitchFamily="34" charset="0"/>
              </a:rPr>
              <a:t>Dr. Ralf </a:t>
            </a:r>
            <a:r>
              <a:rPr lang="en-US" sz="1200" b="1" err="1">
                <a:cs typeface="Arial Narrow" pitchFamily="34" charset="0"/>
              </a:rPr>
              <a:t>Widtmann</a:t>
            </a:r>
            <a:r>
              <a:rPr lang="en-US" sz="1200" b="1">
                <a:cs typeface="Arial Narrow" pitchFamily="34" charset="0"/>
              </a:rPr>
              <a:t>            </a:t>
            </a:r>
            <a:r>
              <a:rPr lang="en-US" sz="1200">
                <a:cs typeface="Arial Narrow" pitchFamily="34" charset="0"/>
              </a:rPr>
              <a:t>+43 664 840 76 18            ralf.widtmann@riskine.com</a:t>
            </a:r>
            <a:endParaRPr lang="de-AT" sz="1200" b="0" noProof="0">
              <a:latin typeface="+mn-lt"/>
              <a:cs typeface="Arial Narrow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AC1CF1B-147D-4730-98BE-B5F60D318BA3}"/>
              </a:ext>
            </a:extLst>
          </p:cNvPr>
          <p:cNvSpPr txBox="1"/>
          <p:nvPr userDrawn="1"/>
        </p:nvSpPr>
        <p:spPr>
          <a:xfrm>
            <a:off x="5171177" y="2090177"/>
            <a:ext cx="1849335" cy="16684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1200" b="0" noProof="0">
                <a:latin typeface="+mj-lt"/>
                <a:cs typeface="Arial Narrow" pitchFamily="34" charset="0"/>
              </a:rPr>
              <a:t>UNSERE MISSION:</a:t>
            </a:r>
            <a:endParaRPr lang="de-AT" sz="1200" b="0" noProof="0">
              <a:latin typeface="+mj-lt"/>
              <a:cs typeface="Arial Narrow" pitchFamily="34" charset="0"/>
            </a:endParaRPr>
          </a:p>
        </p:txBody>
      </p:sp>
      <p:pic>
        <p:nvPicPr>
          <p:cNvPr id="18" name="Picture 1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EBB5D6CC-6E72-41D9-B2A5-3BB8E0AE943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074" y="-329"/>
            <a:ext cx="1390207" cy="1354337"/>
          </a:xfrm>
          <a:prstGeom prst="rect">
            <a:avLst/>
          </a:prstGeom>
        </p:spPr>
      </p:pic>
      <p:pic>
        <p:nvPicPr>
          <p:cNvPr id="20" name="Picture 19" descr="A person with his arms crossed&#10;&#10;Description automatically generated with medium confidence">
            <a:extLst>
              <a:ext uri="{FF2B5EF4-FFF2-40B4-BE49-F238E27FC236}">
                <a16:creationId xmlns:a16="http://schemas.microsoft.com/office/drawing/2014/main" id="{B12D99F2-A85C-4C5F-A508-F8BA33AEB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0"/>
          <a:stretch/>
        </p:blipFill>
        <p:spPr>
          <a:xfrm>
            <a:off x="-5" y="1354008"/>
            <a:ext cx="1356375" cy="1381583"/>
          </a:xfrm>
          <a:prstGeom prst="rect">
            <a:avLst/>
          </a:prstGeom>
        </p:spPr>
      </p:pic>
      <p:pic>
        <p:nvPicPr>
          <p:cNvPr id="22" name="Picture 21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BE5FC6D3-E472-4958-AEB5-0AE45A63FC3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35591"/>
            <a:ext cx="1354661" cy="1380588"/>
          </a:xfrm>
          <a:prstGeom prst="rect">
            <a:avLst/>
          </a:prstGeom>
        </p:spPr>
      </p:pic>
      <p:pic>
        <p:nvPicPr>
          <p:cNvPr id="24" name="Picture 23" descr="A person wearing a tie&#10;&#10;Description automatically generated with low confidence">
            <a:extLst>
              <a:ext uri="{FF2B5EF4-FFF2-40B4-BE49-F238E27FC236}">
                <a16:creationId xmlns:a16="http://schemas.microsoft.com/office/drawing/2014/main" id="{BD0F0C63-6AFA-4393-82AF-CDF1041183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76"/>
          <a:stretch/>
        </p:blipFill>
        <p:spPr>
          <a:xfrm>
            <a:off x="2211" y="5497103"/>
            <a:ext cx="1356694" cy="1360897"/>
          </a:xfrm>
          <a:prstGeom prst="rect">
            <a:avLst/>
          </a:prstGeom>
        </p:spPr>
      </p:pic>
      <p:pic>
        <p:nvPicPr>
          <p:cNvPr id="26" name="Picture 25" descr="A person smiling for the picture&#10;&#10;Description automatically generated with low confidence">
            <a:extLst>
              <a:ext uri="{FF2B5EF4-FFF2-40B4-BE49-F238E27FC236}">
                <a16:creationId xmlns:a16="http://schemas.microsoft.com/office/drawing/2014/main" id="{8258AA81-2BED-4F4D-947B-5E18DE87118B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3029" y="5511115"/>
            <a:ext cx="1354466" cy="1356823"/>
          </a:xfrm>
          <a:prstGeom prst="rect">
            <a:avLst/>
          </a:prstGeom>
        </p:spPr>
      </p:pic>
      <p:pic>
        <p:nvPicPr>
          <p:cNvPr id="28" name="Picture 2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5756A8D1-5330-4646-BB1C-800F36CA79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22"/>
          <a:stretch/>
        </p:blipFill>
        <p:spPr>
          <a:xfrm>
            <a:off x="2713328" y="2718"/>
            <a:ext cx="1352349" cy="1351290"/>
          </a:xfrm>
          <a:prstGeom prst="rect">
            <a:avLst/>
          </a:prstGeom>
        </p:spPr>
      </p:pic>
      <p:pic>
        <p:nvPicPr>
          <p:cNvPr id="30" name="Picture 29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4D31FA77-2120-41D5-B837-FEFF8041AD3D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385" y="5503533"/>
            <a:ext cx="1359784" cy="1356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9273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7C3BDF6C-4AD3-FA4E-91DD-199C86E2BA6C}"/>
              </a:ext>
            </a:extLst>
          </p:cNvPr>
          <p:cNvSpPr/>
          <p:nvPr userDrawn="1"/>
        </p:nvSpPr>
        <p:spPr>
          <a:xfrm>
            <a:off x="900000" y="1321171"/>
            <a:ext cx="4586864" cy="267765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8335"/>
            <a:r>
              <a:rPr lang="en-GB" sz="1400" b="0" err="1">
                <a:latin typeface="+mj-lt"/>
                <a:ea typeface="Calibri" panose="020F0502020204030204" pitchFamily="34" charset="0"/>
              </a:rPr>
              <a:t>Dr.</a:t>
            </a:r>
            <a:r>
              <a:rPr lang="en-GB" sz="1400" b="0">
                <a:latin typeface="+mj-lt"/>
                <a:ea typeface="Calibri" panose="020F0502020204030204" pitchFamily="34" charset="0"/>
              </a:rPr>
              <a:t> Ralf </a:t>
            </a:r>
            <a:r>
              <a:rPr lang="en-GB" sz="1400" b="0" err="1">
                <a:latin typeface="+mj-lt"/>
                <a:ea typeface="Calibri" panose="020F0502020204030204" pitchFamily="34" charset="0"/>
              </a:rPr>
              <a:t>Widtmann</a:t>
            </a:r>
            <a:endParaRPr lang="en-GB" sz="1400" b="0">
              <a:latin typeface="+mj-lt"/>
              <a:ea typeface="Calibri" panose="020F0502020204030204" pitchFamily="34" charset="0"/>
            </a:endParaRPr>
          </a:p>
          <a:p>
            <a:pPr marL="8335"/>
            <a:r>
              <a:rPr lang="en-GB" sz="1400">
                <a:latin typeface="+mn-lt"/>
              </a:rPr>
              <a:t>+43 664 840 7618</a:t>
            </a:r>
          </a:p>
          <a:p>
            <a:pPr marL="8335"/>
            <a:r>
              <a:rPr lang="en-GB" sz="1400">
                <a:latin typeface="+mn-lt"/>
                <a:ea typeface="Calibri" panose="020F0502020204030204" pitchFamily="34" charset="0"/>
                <a:hlinkClick r:id="rId4"/>
              </a:rPr>
              <a:t>Ralf.Widtmann@riskine.com</a:t>
            </a:r>
            <a:endParaRPr lang="en-GB" sz="1400">
              <a:latin typeface="+mn-lt"/>
              <a:ea typeface="Calibri" panose="020F0502020204030204" pitchFamily="34" charset="0"/>
            </a:endParaRPr>
          </a:p>
          <a:p>
            <a:pPr marL="8335"/>
            <a:endParaRPr lang="en-GB" sz="1400">
              <a:latin typeface="+mn-lt"/>
              <a:ea typeface="Calibri" panose="020F0502020204030204" pitchFamily="34" charset="0"/>
            </a:endParaRPr>
          </a:p>
          <a:p>
            <a:pPr marL="8335"/>
            <a:endParaRPr lang="en-GB" sz="1400" b="1">
              <a:latin typeface="+mn-lt"/>
              <a:ea typeface="Calibri" panose="020F0502020204030204" pitchFamily="34" charset="0"/>
            </a:endParaRPr>
          </a:p>
          <a:p>
            <a:pPr marL="8335"/>
            <a:endParaRPr lang="en-GB" sz="1400" b="1">
              <a:latin typeface="+mn-lt"/>
              <a:ea typeface="Calibri" panose="020F0502020204030204" pitchFamily="34" charset="0"/>
            </a:endParaRPr>
          </a:p>
          <a:p>
            <a:pPr marL="8335"/>
            <a:endParaRPr lang="en-GB" sz="1400" b="1">
              <a:latin typeface="+mn-lt"/>
              <a:ea typeface="Calibri" panose="020F0502020204030204" pitchFamily="34" charset="0"/>
            </a:endParaRPr>
          </a:p>
          <a:p>
            <a:pPr marL="8335"/>
            <a:endParaRPr lang="en-GB" sz="1400" b="1">
              <a:latin typeface="+mn-lt"/>
              <a:ea typeface="Calibri" panose="020F0502020204030204" pitchFamily="34" charset="0"/>
            </a:endParaRPr>
          </a:p>
          <a:p>
            <a:pPr marL="8335"/>
            <a:r>
              <a:rPr lang="en-GB" sz="1400" b="0" err="1">
                <a:latin typeface="+mj-lt"/>
                <a:ea typeface="Calibri" panose="020F0502020204030204" pitchFamily="34" charset="0"/>
              </a:rPr>
              <a:t>riskine</a:t>
            </a:r>
            <a:r>
              <a:rPr lang="en-GB" sz="1400" b="0">
                <a:latin typeface="+mj-lt"/>
                <a:ea typeface="Calibri" panose="020F0502020204030204" pitchFamily="34" charset="0"/>
              </a:rPr>
              <a:t> GmbH</a:t>
            </a:r>
          </a:p>
          <a:p>
            <a:pPr marL="8335"/>
            <a:r>
              <a:rPr lang="en-GB" sz="1400" err="1">
                <a:latin typeface="+mn-lt"/>
                <a:ea typeface="Calibri" panose="020F0502020204030204" pitchFamily="34" charset="0"/>
              </a:rPr>
              <a:t>Waaggasse</a:t>
            </a:r>
            <a:r>
              <a:rPr lang="en-GB" sz="1400">
                <a:latin typeface="+mn-lt"/>
                <a:ea typeface="Calibri" panose="020F0502020204030204" pitchFamily="34" charset="0"/>
              </a:rPr>
              <a:t> 15/1</a:t>
            </a:r>
          </a:p>
          <a:p>
            <a:pPr marL="8335"/>
            <a:r>
              <a:rPr lang="en-GB" sz="1400">
                <a:latin typeface="+mn-lt"/>
                <a:ea typeface="Calibri" panose="020F0502020204030204" pitchFamily="34" charset="0"/>
              </a:rPr>
              <a:t>1040 Vienna</a:t>
            </a:r>
          </a:p>
          <a:p>
            <a:pPr marL="8335"/>
            <a:r>
              <a:rPr lang="en-GB" sz="1400">
                <a:latin typeface="+mn-lt"/>
                <a:ea typeface="Calibri" panose="020F0502020204030204" pitchFamily="34" charset="0"/>
              </a:rPr>
              <a:t>Austria</a:t>
            </a:r>
            <a:endParaRPr lang="en-GB" sz="1100">
              <a:latin typeface="+mn-lt"/>
              <a:ea typeface="Calibri" panose="020F050202020403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3C7112-9D96-524B-A52D-8B1414599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0000" y="2191535"/>
            <a:ext cx="4813300" cy="243143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Frederik </a:t>
            </a:r>
            <a:r>
              <a:rPr lang="en-US" err="1"/>
              <a:t>Schorr</a:t>
            </a:r>
            <a:endParaRPr lang="en-US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E4847DA-2E96-6545-B66F-175990FDF6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0000" y="2401331"/>
            <a:ext cx="4813300" cy="243143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+43 676 9054664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B24D43-AA05-AF4A-B341-C19A3DC20B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0000" y="2615088"/>
            <a:ext cx="4813300" cy="243143"/>
          </a:xfrm>
        </p:spPr>
        <p:txBody>
          <a:bodyPr/>
          <a:lstStyle>
            <a:lvl1pPr>
              <a:defRPr sz="1400" b="0" u="sng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rederik.Schorr@riskine.com</a:t>
            </a:r>
            <a:endParaRPr lang="en-US"/>
          </a:p>
        </p:txBody>
      </p:sp>
      <p:pic>
        <p:nvPicPr>
          <p:cNvPr id="11" name="Grafik 22">
            <a:extLst>
              <a:ext uri="{FF2B5EF4-FFF2-40B4-BE49-F238E27FC236}">
                <a16:creationId xmlns:a16="http://schemas.microsoft.com/office/drawing/2014/main" id="{00FDFC20-873E-4243-8252-64228E1AC8F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252986">
            <a:off x="5067739" y="272475"/>
            <a:ext cx="7271626" cy="7342332"/>
          </a:xfrm>
          <a:prstGeom prst="rect">
            <a:avLst/>
          </a:prstGeom>
        </p:spPr>
      </p:pic>
      <p:pic>
        <p:nvPicPr>
          <p:cNvPr id="15" name="Grafik 4">
            <a:extLst>
              <a:ext uri="{FF2B5EF4-FFF2-40B4-BE49-F238E27FC236}">
                <a16:creationId xmlns:a16="http://schemas.microsoft.com/office/drawing/2014/main" id="{1EA3B23C-AC04-47BF-A452-71459970C3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000" y="5274604"/>
            <a:ext cx="1288052" cy="107311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1A980F4-A08D-40F2-9C4B-17EAF0D2C5E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000" y="564597"/>
            <a:ext cx="1060254" cy="23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237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- END OF risk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730B19-E3D2-CD40-9518-5B1FA0D18008}"/>
              </a:ext>
            </a:extLst>
          </p:cNvPr>
          <p:cNvSpPr txBox="1"/>
          <p:nvPr userDrawn="1"/>
        </p:nvSpPr>
        <p:spPr>
          <a:xfrm>
            <a:off x="3149600" y="1481667"/>
            <a:ext cx="8500533" cy="415498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30000" b="0" noProof="0">
                <a:latin typeface="+mj-lt"/>
                <a:cs typeface="Arial Narrow" pitchFamily="34" charset="0"/>
              </a:rPr>
              <a:t>E N</a:t>
            </a:r>
          </a:p>
        </p:txBody>
      </p:sp>
    </p:spTree>
    <p:extLst>
      <p:ext uri="{BB962C8B-B14F-4D97-AF65-F5344CB8AC3E}">
        <p14:creationId xmlns:p14="http://schemas.microsoft.com/office/powerpoint/2010/main" val="39233433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-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56AB84-CCA5-4542-AFE0-2916F330509B}"/>
              </a:ext>
            </a:extLst>
          </p:cNvPr>
          <p:cNvSpPr txBox="1"/>
          <p:nvPr userDrawn="1"/>
        </p:nvSpPr>
        <p:spPr>
          <a:xfrm>
            <a:off x="962121" y="1481667"/>
            <a:ext cx="9141435" cy="415498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US" sz="30000" b="0" noProof="0">
                <a:latin typeface="+mj-lt"/>
                <a:cs typeface="Arial Narrow" pitchFamily="34" charset="0"/>
              </a:rPr>
              <a:t>D E</a:t>
            </a:r>
          </a:p>
        </p:txBody>
      </p:sp>
    </p:spTree>
    <p:extLst>
      <p:ext uri="{BB962C8B-B14F-4D97-AF65-F5344CB8AC3E}">
        <p14:creationId xmlns:p14="http://schemas.microsoft.com/office/powerpoint/2010/main" val="793863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764477"/>
              </p:ext>
            </p:extLst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7E784E4-CF6B-4DE1-953C-33045871D8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900000" y="3953044"/>
            <a:ext cx="10368000" cy="553998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tabLst>
                <a:tab pos="489556" algn="l"/>
                <a:tab pos="751216" algn="l"/>
              </a:tabLst>
              <a:defRPr sz="4000" b="0" i="0" spc="300">
                <a:solidFill>
                  <a:schemeClr val="tx1"/>
                </a:solidFill>
                <a:latin typeface="Intro Bold" panose="02000000000000000000" pitchFamily="50" charset="0"/>
                <a:sym typeface="+mn-lt"/>
              </a:defRPr>
            </a:lvl1pPr>
          </a:lstStyle>
          <a:p>
            <a:r>
              <a:rPr lang="en-US"/>
              <a:t>A.   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2852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143086"/>
              </p:ext>
            </p:extLst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D5D66D-C79A-420D-9CFD-E5F773D3D8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900000" y="3953044"/>
            <a:ext cx="10368000" cy="553998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tabLst>
                <a:tab pos="489556" algn="l"/>
                <a:tab pos="751216" algn="l"/>
              </a:tabLst>
              <a:defRPr sz="4000" b="0" i="0" spc="300">
                <a:solidFill>
                  <a:schemeClr val="bg1"/>
                </a:solidFill>
                <a:latin typeface="Intro Bold" panose="02000000000000000000" pitchFamily="50" charset="0"/>
                <a:sym typeface="+mn-lt"/>
              </a:defRPr>
            </a:lvl1pPr>
          </a:lstStyle>
          <a:p>
            <a:r>
              <a:rPr lang="en-US"/>
              <a:t>A.   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27899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Slide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2778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T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1" y="179801"/>
            <a:ext cx="32060" cy="2846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85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r.›</a:t>
            </a:fld>
            <a:endParaRPr lang="en-US">
              <a:latin typeface="+mn-lt"/>
            </a:endParaRPr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273231" y="228649"/>
            <a:ext cx="65" cy="2846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85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358774" y="1710001"/>
            <a:ext cx="11461751" cy="3661900"/>
          </a:xfrm>
        </p:spPr>
        <p:txBody>
          <a:bodyPr wrap="square">
            <a:spAutoFit/>
          </a:bodyPr>
          <a:lstStyle>
            <a:lvl1pPr marL="332308" indent="-332308">
              <a:spcBef>
                <a:spcPts val="1847"/>
              </a:spcBef>
              <a:tabLst>
                <a:tab pos="11472863" algn="r"/>
              </a:tabLst>
              <a:defRPr>
                <a:solidFill>
                  <a:schemeClr val="tx1"/>
                </a:solidFill>
                <a:latin typeface="Intro Regular" panose="02000000000000000000" pitchFamily="50" charset="0"/>
                <a:cs typeface="+mn-cs"/>
                <a:sym typeface="+mn-lt"/>
              </a:defRPr>
            </a:lvl1pPr>
            <a:lvl2pPr marL="664615" indent="-332308">
              <a:spcBef>
                <a:spcPts val="555"/>
              </a:spcBef>
              <a:buNone/>
              <a:tabLst>
                <a:tab pos="11472863" algn="r"/>
              </a:tabLst>
              <a:defRPr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1163078" indent="-498462">
              <a:spcBef>
                <a:spcPts val="0"/>
              </a:spcBef>
              <a:buNone/>
              <a:tabLst>
                <a:tab pos="11472863" algn="r"/>
              </a:tabLst>
              <a:defRPr>
                <a:solidFill>
                  <a:schemeClr val="tx1"/>
                </a:solidFill>
                <a:latin typeface="+mn-lt"/>
                <a:sym typeface="+mn-lt"/>
              </a:defRPr>
            </a:lvl3pPr>
            <a:lvl4pPr marL="1159120" indent="-493834">
              <a:buNone/>
              <a:tabLst>
                <a:tab pos="7866185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xxx	xx</a:t>
            </a:r>
          </a:p>
          <a:p>
            <a:pPr lvl="0"/>
            <a:r>
              <a:rPr lang="en-US"/>
              <a:t>B.	xxx	xx</a:t>
            </a:r>
          </a:p>
          <a:p>
            <a:pPr lvl="1"/>
            <a:r>
              <a:rPr lang="en-US"/>
              <a:t>1.	xxx	xx</a:t>
            </a:r>
          </a:p>
          <a:p>
            <a:pPr lvl="1"/>
            <a:r>
              <a:rPr lang="en-US"/>
              <a:t>2.	xxx	xx</a:t>
            </a:r>
          </a:p>
          <a:p>
            <a:pPr lvl="2"/>
            <a:r>
              <a:rPr lang="en-US"/>
              <a:t>2.1	xxx	xx</a:t>
            </a:r>
          </a:p>
          <a:p>
            <a:pPr lvl="2"/>
            <a:r>
              <a:rPr lang="en-US"/>
              <a:t>2.2	xxx	xx</a:t>
            </a:r>
          </a:p>
          <a:p>
            <a:pPr lvl="0"/>
            <a:r>
              <a:rPr lang="en-US"/>
              <a:t>C.	xxx	xx</a:t>
            </a:r>
          </a:p>
          <a:p>
            <a:pPr lvl="1"/>
            <a:r>
              <a:rPr lang="en-US"/>
              <a:t>1.	xxx	xx</a:t>
            </a:r>
          </a:p>
          <a:p>
            <a:pPr lvl="2"/>
            <a:r>
              <a:rPr lang="en-US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58774" y="1098000"/>
            <a:ext cx="11604625" cy="343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844062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1483975" algn="r"/>
              </a:tabLst>
              <a:defRPr/>
            </a:pPr>
            <a:r>
              <a:rPr kumimoji="0" lang="en-US" altLang="de-DE" sz="2400" b="0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 Bold" panose="02000000000000000000" pitchFamily="50" charset="0"/>
                <a:ea typeface="+mj-ea"/>
                <a:cs typeface="+mn-cs"/>
                <a:sym typeface="+mn-lt"/>
              </a:rPr>
              <a:t>CONTENT	SLIDE</a:t>
            </a:r>
          </a:p>
        </p:txBody>
      </p:sp>
    </p:spTree>
    <p:extLst>
      <p:ext uri="{BB962C8B-B14F-4D97-AF65-F5344CB8AC3E}">
        <p14:creationId xmlns:p14="http://schemas.microsoft.com/office/powerpoint/2010/main" val="2903569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3809BE-538D-421F-9601-23CD6570176B}"/>
              </a:ext>
            </a:extLst>
          </p:cNvPr>
          <p:cNvSpPr/>
          <p:nvPr userDrawn="1"/>
        </p:nvSpPr>
        <p:spPr>
          <a:xfrm>
            <a:off x="0" y="-5365"/>
            <a:ext cx="12192000" cy="1072166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512D11-EFF2-4DED-BCC5-A79F3182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1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512D11-EFF2-4DED-BCC5-A79F3182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664671A-9E81-407F-8081-6AF3FADCD2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84BDAC-5F27-4F17-B454-937F76D33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0"/>
            <a:ext cx="10079440" cy="106680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6874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1 Collum ST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5109A4-0570-41D1-BFC1-614D4F326522}"/>
              </a:ext>
            </a:extLst>
          </p:cNvPr>
          <p:cNvSpPr/>
          <p:nvPr userDrawn="1"/>
        </p:nvSpPr>
        <p:spPr>
          <a:xfrm>
            <a:off x="0" y="-5365"/>
            <a:ext cx="12192000" cy="1072166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A64C0C-306A-4F4E-A819-81F348881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39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A64C0C-306A-4F4E-A819-81F348881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9B2F81A-A11A-4ADB-8BB3-1AB370CB2A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  <a:spcBef>
                <a:spcPts val="400"/>
              </a:spcBef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84BDAC-5F27-4F17-B454-937F76D33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0"/>
            <a:ext cx="10079440" cy="1066801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98E26-42FA-4B54-809E-477F513917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5" y="1706228"/>
            <a:ext cx="11461750" cy="1307409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18892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878075137"/>
              </p:ext>
            </p:extLst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60" imgH="360" progId="TCLayout.ActiveDocument.1">
                  <p:embed/>
                </p:oleObj>
              </mc:Choice>
              <mc:Fallback>
                <p:oleObj name="think-cell Slide" r:id="rId38" imgW="360" imgH="360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A9A9542-4F70-4B26-9B90-66D0C38FF8B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42" name="!!!Do not delete this text object!!!!_2" hidden="1"/>
          <p:cNvSpPr/>
          <p:nvPr/>
        </p:nvSpPr>
        <p:spPr>
          <a:xfrm>
            <a:off x="12273232" y="57955"/>
            <a:ext cx="39877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277"/>
              </a:spcBef>
            </a:pPr>
            <a:r>
              <a:rPr lang="en-US" sz="185" b="1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2273234" y="92742"/>
            <a:ext cx="692497" cy="2846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8440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185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1591653" y="6581046"/>
            <a:ext cx="192360" cy="11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84406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BC1FA7A-BFF0-564F-8DF7-D5D55FAFC348}" type="slidenum">
              <a:rPr kumimoji="0" lang="en-US" sz="831" b="1" i="0" u="none" strike="noStrike" kern="1200" cap="none" spc="0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pPr marL="0" marR="0" lvl="0" indent="0" algn="l" defTabSz="84406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831" b="1" i="0" u="none" strike="noStrike" kern="1200" cap="none" spc="0" normalizeH="0" baseline="0" noProof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Intro" panose="02000000000000000000" pitchFamily="2" charset="77"/>
              <a:ea typeface="+mn-ea"/>
              <a:cs typeface="+mn-cs"/>
              <a:sym typeface="+mn-lt"/>
            </a:endParaRPr>
          </a:p>
        </p:txBody>
      </p:sp>
      <p:sp>
        <p:nvSpPr>
          <p:cNvPr id="53" name="Slide Number Line"/>
          <p:cNvSpPr>
            <a:spLocks noChangeShapeType="1"/>
          </p:cNvSpPr>
          <p:nvPr/>
        </p:nvSpPr>
        <p:spPr bwMode="auto">
          <a:xfrm rot="5400000">
            <a:off x="11280971" y="6391487"/>
            <a:ext cx="0" cy="48000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eaLnBrk="1">
              <a:lnSpc>
                <a:spcPct val="90000"/>
              </a:lnSpc>
              <a:defRPr/>
            </a:pPr>
            <a:endParaRPr lang="en-US" sz="831" b="1" noProof="1">
              <a:solidFill>
                <a:schemeClr val="tx2"/>
              </a:solidFill>
              <a:latin typeface="Intro" panose="02000000000000000000" pitchFamily="2" charset="77"/>
              <a:cs typeface="+mn-cs"/>
              <a:sym typeface="+mn-lt"/>
            </a:endParaRPr>
          </a:p>
        </p:txBody>
      </p:sp>
      <p:sp>
        <p:nvSpPr>
          <p:cNvPr id="57" name="Source" hidden="1"/>
          <p:cNvSpPr txBox="1"/>
          <p:nvPr/>
        </p:nvSpPr>
        <p:spPr>
          <a:xfrm>
            <a:off x="908541" y="6719163"/>
            <a:ext cx="573875" cy="11560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831" b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908541" y="6427541"/>
            <a:ext cx="291747" cy="12843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923" b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908543" y="6195259"/>
            <a:ext cx="771280" cy="146050"/>
            <a:chOff x="738189" y="6195259"/>
            <a:chExt cx="626664" cy="146050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84406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8" y="6196726"/>
              <a:ext cx="328215" cy="12843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844062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23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908541" y="2158953"/>
            <a:ext cx="2436923" cy="9341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385" b="1">
                <a:latin typeface="+mn-lt"/>
                <a:cs typeface="+mn-cs"/>
                <a:sym typeface="+mn-lt"/>
              </a:rPr>
              <a:t>15 Point Text: Level 0</a:t>
            </a:r>
            <a:endParaRPr lang="en-US" sz="1385" b="0">
              <a:latin typeface="+mn-lt"/>
              <a:cs typeface="+mn-cs"/>
              <a:sym typeface="+mn-lt"/>
            </a:endParaRPr>
          </a:p>
          <a:p>
            <a:pPr marL="151911" lvl="1" indent="-151911">
              <a:lnSpc>
                <a:spcPct val="90000"/>
              </a:lnSpc>
              <a:spcBef>
                <a:spcPts val="739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1385" b="0">
                <a:latin typeface="+mn-lt"/>
                <a:cs typeface="+mn-cs"/>
                <a:sym typeface="+mn-lt"/>
              </a:rPr>
              <a:t>Level 1</a:t>
            </a:r>
          </a:p>
          <a:p>
            <a:pPr marL="318065" lvl="2" indent="-154285">
              <a:lnSpc>
                <a:spcPct val="90000"/>
              </a:lnSpc>
              <a:spcBef>
                <a:spcPts val="369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1385" b="0">
                <a:latin typeface="+mn-lt"/>
                <a:cs typeface="+mn-cs"/>
                <a:sym typeface="+mn-lt"/>
              </a:rPr>
              <a:t>Level 2</a:t>
            </a:r>
          </a:p>
          <a:p>
            <a:pPr marL="460483" lvl="3" indent="-132923">
              <a:lnSpc>
                <a:spcPct val="90000"/>
              </a:lnSpc>
              <a:spcBef>
                <a:spcPts val="185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1385" b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908308" y="1710000"/>
            <a:ext cx="10505832" cy="2686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939" b="0">
                <a:solidFill>
                  <a:schemeClr val="tx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60000" y="1080000"/>
            <a:ext cx="11460525" cy="13074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 – Level 0</a:t>
            </a:r>
          </a:p>
          <a:p>
            <a:pPr lvl="1"/>
            <a:r>
              <a:rPr lang="en-US"/>
              <a:t>Level 1</a:t>
            </a:r>
          </a:p>
          <a:p>
            <a:pPr lvl="2"/>
            <a:r>
              <a:rPr lang="en-US"/>
              <a:t>Level 2</a:t>
            </a:r>
          </a:p>
          <a:p>
            <a:pPr lvl="3"/>
            <a:r>
              <a:rPr lang="en-US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60000" y="144461"/>
            <a:ext cx="10079440" cy="59833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TITLE MAST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226E23-A929-5342-A098-2C0D42262A12}"/>
              </a:ext>
            </a:extLst>
          </p:cNvPr>
          <p:cNvSpPr/>
          <p:nvPr userDrawn="1"/>
        </p:nvSpPr>
        <p:spPr>
          <a:xfrm>
            <a:off x="10372363" y="6511758"/>
            <a:ext cx="6992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900" b="1" i="0" u="none" strike="noStrike" kern="1200" cap="none" spc="0" normalizeH="0" baseline="0" noProof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ntro" panose="02000000000000000000" pitchFamily="2" charset="77"/>
                <a:ea typeface="+mn-ea"/>
                <a:cs typeface="+mn-cs"/>
                <a:sym typeface="+mn-lt"/>
              </a:rPr>
              <a:t>riskine</a:t>
            </a:r>
            <a:endParaRPr lang="en-US" sz="900">
              <a:solidFill>
                <a:schemeClr val="accent3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CB1294A-DFD7-4D05-BAF2-2516013B58F7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7098" y="144461"/>
            <a:ext cx="301816" cy="24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26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20" r:id="rId2"/>
    <p:sldLayoutId id="2147483699" r:id="rId3"/>
    <p:sldLayoutId id="2147483692" r:id="rId4"/>
    <p:sldLayoutId id="2147483693" r:id="rId5"/>
    <p:sldLayoutId id="2147483696" r:id="rId6"/>
    <p:sldLayoutId id="2147483697" r:id="rId7"/>
    <p:sldLayoutId id="2147483731" r:id="rId8"/>
    <p:sldLayoutId id="2147483732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6" r:id="rId20"/>
    <p:sldLayoutId id="2147483717" r:id="rId21"/>
    <p:sldLayoutId id="2147483718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723" r:id="rId28"/>
    <p:sldLayoutId id="2147483738" r:id="rId29"/>
    <p:sldLayoutId id="2147483739" r:id="rId30"/>
    <p:sldLayoutId id="2147483736" r:id="rId31"/>
    <p:sldLayoutId id="2147483725" r:id="rId32"/>
    <p:sldLayoutId id="2147483729" r:id="rId33"/>
    <p:sldLayoutId id="2147483730" r:id="rId34"/>
  </p:sldLayoutIdLst>
  <p:hf sldNum="0" hdr="0" ftr="0" dt="0"/>
  <p:txStyles>
    <p:titleStyle>
      <a:lvl1pPr algn="l" defTabSz="844062" rtl="0" eaLnBrk="1" latinLnBrk="0" hangingPunct="1">
        <a:lnSpc>
          <a:spcPct val="90000"/>
        </a:lnSpc>
        <a:spcBef>
          <a:spcPct val="0"/>
        </a:spcBef>
        <a:buNone/>
        <a:defRPr lang="en-US" sz="2400" b="0" kern="1200" cap="none" spc="300" baseline="0" dirty="0">
          <a:solidFill>
            <a:schemeClr val="tx1"/>
          </a:solidFill>
          <a:latin typeface="+mn-lt"/>
          <a:ea typeface="+mj-ea"/>
          <a:cs typeface="+mj-cs"/>
          <a:sym typeface="+mn-lt"/>
        </a:defRPr>
      </a:lvl1pPr>
    </p:titleStyle>
    <p:bodyStyle>
      <a:lvl1pPr marL="0" indent="0" algn="l" defTabSz="844062" rtl="0" eaLnBrk="1" latinLnBrk="0" hangingPunct="1">
        <a:lnSpc>
          <a:spcPct val="120000"/>
        </a:lnSpc>
        <a:spcBef>
          <a:spcPts val="0"/>
        </a:spcBef>
        <a:buFont typeface="Arial Narrow" pitchFamily="34" charset="0"/>
        <a:buNone/>
        <a:defRPr lang="en-US" sz="1800" b="0" i="0" kern="1200" baseline="0" dirty="0" smtClean="0">
          <a:solidFill>
            <a:schemeClr val="tx1"/>
          </a:solidFill>
          <a:latin typeface="Intro Regular" panose="02000000000000000000" pitchFamily="50" charset="0"/>
          <a:ea typeface="+mn-ea"/>
          <a:cs typeface="+mn-cs"/>
          <a:sym typeface="+mn-lt"/>
        </a:defRPr>
      </a:lvl1pPr>
      <a:lvl2pPr marL="212677" indent="-212677" algn="l" defTabSz="844062" rtl="0" eaLnBrk="1" latinLnBrk="0" hangingPunct="1">
        <a:lnSpc>
          <a:spcPct val="120000"/>
        </a:lnSpc>
        <a:spcBef>
          <a:spcPts val="0"/>
        </a:spcBef>
        <a:buFont typeface="Arial" pitchFamily="34" charset="0"/>
        <a:buChar char="•"/>
        <a:defRPr lang="en-US" sz="1800" b="0" kern="1200" dirty="0" smtClean="0">
          <a:solidFill>
            <a:schemeClr val="tx1"/>
          </a:solidFill>
          <a:latin typeface="Intro Regular" panose="02000000000000000000" pitchFamily="50" charset="0"/>
          <a:ea typeface="+mn-ea"/>
          <a:cs typeface="+mn-cs"/>
          <a:sym typeface="+mn-lt"/>
        </a:defRPr>
      </a:lvl2pPr>
      <a:lvl3pPr marL="445292" indent="-216000" algn="l" defTabSz="844062" rtl="0" eaLnBrk="1" latinLnBrk="0" hangingPunct="1">
        <a:lnSpc>
          <a:spcPct val="120000"/>
        </a:lnSpc>
        <a:spcBef>
          <a:spcPts val="0"/>
        </a:spcBef>
        <a:buFont typeface="Arial Narrow" pitchFamily="34" charset="0"/>
        <a:buChar char="–"/>
        <a:defRPr lang="en-US" sz="1800" b="0" kern="1200" dirty="0" smtClean="0">
          <a:solidFill>
            <a:schemeClr val="tx1"/>
          </a:solidFill>
          <a:latin typeface="Intro Regular" panose="02000000000000000000" pitchFamily="50" charset="0"/>
          <a:ea typeface="+mn-ea"/>
          <a:cs typeface="+mn-cs"/>
          <a:sym typeface="+mn-lt"/>
        </a:defRPr>
      </a:lvl3pPr>
      <a:lvl4pPr marL="644677" indent="-186093" algn="l" defTabSz="844062" rtl="0" eaLnBrk="1" latinLnBrk="0" hangingPunct="1">
        <a:lnSpc>
          <a:spcPct val="120000"/>
        </a:lnSpc>
        <a:spcBef>
          <a:spcPts val="0"/>
        </a:spcBef>
        <a:buFont typeface="Arial Narrow" pitchFamily="34" charset="0"/>
        <a:buChar char="-"/>
        <a:defRPr lang="en-US" sz="1800" b="0" kern="1200" dirty="0">
          <a:solidFill>
            <a:schemeClr val="tx1"/>
          </a:solidFill>
          <a:latin typeface="Intro Regular" panose="02000000000000000000" pitchFamily="50" charset="0"/>
          <a:ea typeface="+mn-ea"/>
          <a:cs typeface="+mn-cs"/>
          <a:sym typeface="+mn-lt"/>
        </a:defRPr>
      </a:lvl4pPr>
      <a:lvl5pPr marL="644677" indent="0" algn="l" defTabSz="844062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1569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321169" indent="-211016" algn="l" defTabSz="844062" rtl="0" eaLnBrk="1" latinLnBrk="0" hangingPunct="1">
        <a:spcBef>
          <a:spcPct val="20000"/>
        </a:spcBef>
        <a:buFont typeface="Arial Narrow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indent="-211016" algn="l" defTabSz="844062" rtl="0" eaLnBrk="1" latinLnBrk="0" hangingPunct="1">
        <a:spcBef>
          <a:spcPct val="20000"/>
        </a:spcBef>
        <a:buFont typeface="Arial Narrow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232" indent="-211016" algn="l" defTabSz="844062" rtl="0" eaLnBrk="1" latinLnBrk="0" hangingPunct="1">
        <a:spcBef>
          <a:spcPct val="20000"/>
        </a:spcBef>
        <a:buFont typeface="Arial Narrow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261" indent="-211016" algn="l" defTabSz="844062" rtl="0" eaLnBrk="1" latinLnBrk="0" hangingPunct="1">
        <a:spcBef>
          <a:spcPct val="20000"/>
        </a:spcBef>
        <a:buFont typeface="Arial Narrow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1pPr>
      <a:lvl2pPr marL="422031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2pPr>
      <a:lvl3pPr marL="844062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3pPr>
      <a:lvl4pPr marL="1266092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4pPr>
      <a:lvl5pPr marL="1688123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5pPr>
      <a:lvl6pPr marL="2110154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6pPr>
      <a:lvl7pPr marL="2532185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7pPr>
      <a:lvl8pPr marL="2954215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8pPr>
      <a:lvl9pPr marL="3376246" algn="l" defTabSz="844062" rtl="0" eaLnBrk="1" latinLnBrk="0" hangingPunct="1">
        <a:defRPr sz="16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470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  <p15:guide id="7" orient="horz" pos="672" userDrawn="1">
          <p15:clr>
            <a:srgbClr val="F26B43"/>
          </p15:clr>
        </p15:guide>
        <p15:guide id="8" orient="horz" pos="1298" userDrawn="1">
          <p15:clr>
            <a:srgbClr val="F26B43"/>
          </p15:clr>
        </p15:guide>
        <p15:guide id="9" orient="horz" pos="4224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7446" userDrawn="1">
          <p15:clr>
            <a:srgbClr val="F26B43"/>
          </p15:clr>
        </p15:guide>
        <p15:guide id="12" orient="horz" pos="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6.png"/><Relationship Id="rId12" Type="http://schemas.openxmlformats.org/officeDocument/2006/relationships/image" Target="../media/image57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.emf"/><Relationship Id="rId11" Type="http://schemas.openxmlformats.org/officeDocument/2006/relationships/image" Target="../media/image90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8.jpeg"/><Relationship Id="rId4" Type="http://schemas.openxmlformats.org/officeDocument/2006/relationships/image" Target="../media/image7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2.jpeg"/><Relationship Id="rId4" Type="http://schemas.openxmlformats.org/officeDocument/2006/relationships/image" Target="../media/image10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8.jpeg"/><Relationship Id="rId18" Type="http://schemas.openxmlformats.org/officeDocument/2006/relationships/image" Target="../media/image123.jpeg"/><Relationship Id="rId26" Type="http://schemas.openxmlformats.org/officeDocument/2006/relationships/image" Target="../media/image131.png"/><Relationship Id="rId39" Type="http://schemas.openxmlformats.org/officeDocument/2006/relationships/image" Target="../media/image144.png"/><Relationship Id="rId21" Type="http://schemas.openxmlformats.org/officeDocument/2006/relationships/image" Target="../media/image126.png"/><Relationship Id="rId34" Type="http://schemas.openxmlformats.org/officeDocument/2006/relationships/image" Target="../media/image139.png"/><Relationship Id="rId42" Type="http://schemas.openxmlformats.org/officeDocument/2006/relationships/image" Target="../media/image147.jpeg"/><Relationship Id="rId7" Type="http://schemas.openxmlformats.org/officeDocument/2006/relationships/image" Target="../media/image112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21.jpeg"/><Relationship Id="rId20" Type="http://schemas.openxmlformats.org/officeDocument/2006/relationships/image" Target="../media/image125.png"/><Relationship Id="rId29" Type="http://schemas.openxmlformats.org/officeDocument/2006/relationships/image" Target="../media/image134.png"/><Relationship Id="rId41" Type="http://schemas.openxmlformats.org/officeDocument/2006/relationships/image" Target="../media/image14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1.png"/><Relationship Id="rId11" Type="http://schemas.openxmlformats.org/officeDocument/2006/relationships/image" Target="../media/image116.png"/><Relationship Id="rId24" Type="http://schemas.openxmlformats.org/officeDocument/2006/relationships/image" Target="../media/image129.png"/><Relationship Id="rId32" Type="http://schemas.openxmlformats.org/officeDocument/2006/relationships/image" Target="../media/image137.png"/><Relationship Id="rId37" Type="http://schemas.openxmlformats.org/officeDocument/2006/relationships/image" Target="../media/image142.jpeg"/><Relationship Id="rId40" Type="http://schemas.openxmlformats.org/officeDocument/2006/relationships/image" Target="../media/image145.png"/><Relationship Id="rId5" Type="http://schemas.openxmlformats.org/officeDocument/2006/relationships/image" Target="../media/image110.png"/><Relationship Id="rId15" Type="http://schemas.openxmlformats.org/officeDocument/2006/relationships/image" Target="../media/image120.png"/><Relationship Id="rId23" Type="http://schemas.openxmlformats.org/officeDocument/2006/relationships/image" Target="../media/image128.png"/><Relationship Id="rId28" Type="http://schemas.openxmlformats.org/officeDocument/2006/relationships/image" Target="../media/image133.png"/><Relationship Id="rId36" Type="http://schemas.openxmlformats.org/officeDocument/2006/relationships/image" Target="../media/image141.png"/><Relationship Id="rId10" Type="http://schemas.openxmlformats.org/officeDocument/2006/relationships/image" Target="../media/image115.svg"/><Relationship Id="rId19" Type="http://schemas.openxmlformats.org/officeDocument/2006/relationships/image" Target="../media/image124.png"/><Relationship Id="rId31" Type="http://schemas.openxmlformats.org/officeDocument/2006/relationships/image" Target="../media/image136.jpeg"/><Relationship Id="rId4" Type="http://schemas.openxmlformats.org/officeDocument/2006/relationships/image" Target="../media/image109.png"/><Relationship Id="rId9" Type="http://schemas.openxmlformats.org/officeDocument/2006/relationships/image" Target="../media/image114.png"/><Relationship Id="rId14" Type="http://schemas.openxmlformats.org/officeDocument/2006/relationships/image" Target="../media/image119.png"/><Relationship Id="rId22" Type="http://schemas.openxmlformats.org/officeDocument/2006/relationships/image" Target="../media/image127.gif"/><Relationship Id="rId27" Type="http://schemas.openxmlformats.org/officeDocument/2006/relationships/image" Target="../media/image132.jpeg"/><Relationship Id="rId30" Type="http://schemas.openxmlformats.org/officeDocument/2006/relationships/image" Target="../media/image135.png"/><Relationship Id="rId35" Type="http://schemas.openxmlformats.org/officeDocument/2006/relationships/image" Target="../media/image140.png"/><Relationship Id="rId8" Type="http://schemas.openxmlformats.org/officeDocument/2006/relationships/image" Target="../media/image113.png"/><Relationship Id="rId3" Type="http://schemas.openxmlformats.org/officeDocument/2006/relationships/image" Target="../media/image108.png"/><Relationship Id="rId12" Type="http://schemas.openxmlformats.org/officeDocument/2006/relationships/image" Target="../media/image117.png"/><Relationship Id="rId17" Type="http://schemas.openxmlformats.org/officeDocument/2006/relationships/image" Target="../media/image122.jpeg"/><Relationship Id="rId25" Type="http://schemas.openxmlformats.org/officeDocument/2006/relationships/image" Target="../media/image130.svg"/><Relationship Id="rId33" Type="http://schemas.openxmlformats.org/officeDocument/2006/relationships/image" Target="../media/image138.png"/><Relationship Id="rId38" Type="http://schemas.openxmlformats.org/officeDocument/2006/relationships/image" Target="../media/image14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12" Type="http://schemas.openxmlformats.org/officeDocument/2006/relationships/image" Target="../media/image49.gif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8.xml"/><Relationship Id="rId6" Type="http://schemas.microsoft.com/office/2007/relationships/hdphoto" Target="../media/hdphoto1.wdp"/><Relationship Id="rId11" Type="http://schemas.openxmlformats.org/officeDocument/2006/relationships/image" Target="../media/image48.png"/><Relationship Id="rId5" Type="http://schemas.openxmlformats.org/officeDocument/2006/relationships/image" Target="../media/image44.png"/><Relationship Id="rId15" Type="http://schemas.openxmlformats.org/officeDocument/2006/relationships/image" Target="../media/image52.png"/><Relationship Id="rId10" Type="http://schemas.openxmlformats.org/officeDocument/2006/relationships/image" Target="../media/image47.jpeg"/><Relationship Id="rId19" Type="http://schemas.openxmlformats.org/officeDocument/2006/relationships/image" Target="../media/image56.png"/><Relationship Id="rId4" Type="http://schemas.openxmlformats.org/officeDocument/2006/relationships/image" Target="../media/image43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71.png"/><Relationship Id="rId7" Type="http://schemas.openxmlformats.org/officeDocument/2006/relationships/hyperlink" Target="https://docs.riskine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3.png"/><Relationship Id="rId5" Type="http://schemas.openxmlformats.org/officeDocument/2006/relationships/image" Target="../media/image56.png"/><Relationship Id="rId4" Type="http://schemas.openxmlformats.org/officeDocument/2006/relationships/image" Target="../media/image7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4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6.png"/><Relationship Id="rId11" Type="http://schemas.openxmlformats.org/officeDocument/2006/relationships/image" Target="../media/image81.png"/><Relationship Id="rId5" Type="http://schemas.openxmlformats.org/officeDocument/2006/relationships/image" Target="../media/image76.png"/><Relationship Id="rId10" Type="http://schemas.openxmlformats.org/officeDocument/2006/relationships/image" Target="../media/image80.png"/><Relationship Id="rId4" Type="http://schemas.openxmlformats.org/officeDocument/2006/relationships/image" Target="../media/image75.png"/><Relationship Id="rId9" Type="http://schemas.openxmlformats.org/officeDocument/2006/relationships/image" Target="../media/image7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3.png"/><Relationship Id="rId5" Type="http://schemas.openxmlformats.org/officeDocument/2006/relationships/image" Target="../media/image85.png"/><Relationship Id="rId4" Type="http://schemas.openxmlformats.org/officeDocument/2006/relationships/image" Target="../media/image8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1F70ED-9C0F-45D9-A9C6-F0977D79EE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3" imgH="273" progId="TCLayout.ActiveDocument.1">
                  <p:embed/>
                </p:oleObj>
              </mc:Choice>
              <mc:Fallback>
                <p:oleObj name="think-cell Slide" r:id="rId4" imgW="273" imgH="2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1F70ED-9C0F-45D9-A9C6-F0977D79E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976D32F-2B8B-46A9-BEDF-0FCA7E7B900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AT" sz="280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6EE02-B783-E74C-8D82-4A6BD2E3F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2522836"/>
            <a:ext cx="11460525" cy="409175"/>
          </a:xfrm>
        </p:spPr>
        <p:txBody>
          <a:bodyPr/>
          <a:lstStyle/>
          <a:p>
            <a:r>
              <a:rPr lang="de-AT" sz="2000">
                <a:latin typeface="+mn-lt"/>
              </a:rPr>
              <a:t>Kundenzentrierte Beratungslösungen</a:t>
            </a:r>
            <a:endParaRPr lang="en-US" sz="200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C942CB-3789-49AC-874F-CB80B08FCC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99" y="3974977"/>
            <a:ext cx="11462400" cy="208390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AT" sz="1200">
                <a:latin typeface="Intro Regular"/>
              </a:rPr>
              <a:t>Unternehmenspräsentation</a:t>
            </a:r>
            <a:endParaRPr lang="de-AT">
              <a:latin typeface="Intro Regular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B76F9F-2AFC-4A0C-BBB5-098F16CCCB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23656" y="4821959"/>
            <a:ext cx="4735088" cy="182358"/>
          </a:xfrm>
        </p:spPr>
        <p:txBody>
          <a:bodyPr/>
          <a:lstStyle/>
          <a:p>
            <a:r>
              <a:rPr lang="de-AT"/>
              <a:t>04.2022</a:t>
            </a:r>
          </a:p>
        </p:txBody>
      </p:sp>
    </p:spTree>
    <p:extLst>
      <p:ext uri="{BB962C8B-B14F-4D97-AF65-F5344CB8AC3E}">
        <p14:creationId xmlns:p14="http://schemas.microsoft.com/office/powerpoint/2010/main" val="14297510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37BEFFB-DADE-4A08-A4AA-5019739D5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3" imgH="273" progId="TCLayout.ActiveDocument.1">
                  <p:embed/>
                </p:oleObj>
              </mc:Choice>
              <mc:Fallback>
                <p:oleObj name="think-cell Slide" r:id="rId5" imgW="273" imgH="2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37BEFFB-DADE-4A08-A4AA-5019739D5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DA6688-7786-4A88-A634-E12D21B042A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de-AT" sz="2400">
              <a:latin typeface="Intro Bold" panose="02000000000000000000" pitchFamily="50" charset="0"/>
              <a:ea typeface="+mj-ea"/>
              <a:cs typeface="+mj-cs"/>
              <a:sym typeface="Intro Bold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1FED9D-D7A7-41AF-AAE4-71B5B667B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>
                <a:solidFill>
                  <a:schemeClr val="bg1"/>
                </a:solidFill>
              </a:rPr>
              <a:t>3. Use Case: Bancassurance</a:t>
            </a:r>
          </a:p>
        </p:txBody>
      </p:sp>
      <p:pic>
        <p:nvPicPr>
          <p:cNvPr id="15" name="Picture 35">
            <a:extLst>
              <a:ext uri="{FF2B5EF4-FFF2-40B4-BE49-F238E27FC236}">
                <a16:creationId xmlns:a16="http://schemas.microsoft.com/office/drawing/2014/main" id="{97CDB8A6-AF14-4809-A619-1FE1D7E50C6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399"/>
          <a:stretch/>
        </p:blipFill>
        <p:spPr>
          <a:xfrm>
            <a:off x="4401377" y="5007868"/>
            <a:ext cx="4225722" cy="2744665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B227A1E3-A2B7-44D8-B6D1-A7E90ABD75E2}"/>
              </a:ext>
            </a:extLst>
          </p:cNvPr>
          <p:cNvSpPr/>
          <p:nvPr/>
        </p:nvSpPr>
        <p:spPr>
          <a:xfrm flipH="1">
            <a:off x="14811038" y="5508124"/>
            <a:ext cx="45700" cy="121953"/>
          </a:xfrm>
          <a:prstGeom prst="rect">
            <a:avLst/>
          </a:prstGeom>
          <a:solidFill>
            <a:srgbClr val="DEF2F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B373679-120F-4420-9242-13542450E982}"/>
              </a:ext>
            </a:extLst>
          </p:cNvPr>
          <p:cNvSpPr/>
          <p:nvPr/>
        </p:nvSpPr>
        <p:spPr>
          <a:xfrm flipH="1">
            <a:off x="14735610" y="5685032"/>
            <a:ext cx="45700" cy="121953"/>
          </a:xfrm>
          <a:prstGeom prst="rect">
            <a:avLst/>
          </a:prstGeom>
          <a:solidFill>
            <a:srgbClr val="F5F8FA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FECFD15-8370-4B02-8463-2CA52347B2D6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360000" y="5007868"/>
            <a:ext cx="3508472" cy="159823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A1FE828A-93BD-4E28-8FEA-5651DC120ED7}"/>
              </a:ext>
            </a:extLst>
          </p:cNvPr>
          <p:cNvSpPr txBox="1"/>
          <p:nvPr/>
        </p:nvSpPr>
        <p:spPr>
          <a:xfrm>
            <a:off x="360000" y="4789587"/>
            <a:ext cx="3045166" cy="15292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100">
                <a:cs typeface="Arial Narrow" pitchFamily="34" charset="0"/>
              </a:rPr>
              <a:t>4. Detaillierte Produktfrag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EF539D3-B254-46D7-90FD-BD432C268275}"/>
              </a:ext>
            </a:extLst>
          </p:cNvPr>
          <p:cNvSpPr txBox="1"/>
          <p:nvPr/>
        </p:nvSpPr>
        <p:spPr>
          <a:xfrm>
            <a:off x="4509432" y="4713123"/>
            <a:ext cx="4225722" cy="15292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100">
                <a:cs typeface="Arial Narrow" pitchFamily="34" charset="0"/>
              </a:rPr>
              <a:t>5. Ergebnisse der Produktberatung</a:t>
            </a:r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BC2A771B-2044-4EF6-8051-F3C090B6ECD8}"/>
              </a:ext>
            </a:extLst>
          </p:cNvPr>
          <p:cNvSpPr/>
          <p:nvPr/>
        </p:nvSpPr>
        <p:spPr>
          <a:xfrm>
            <a:off x="4012877" y="5422313"/>
            <a:ext cx="302461" cy="873433"/>
          </a:xfrm>
          <a:prstGeom prst="rightArrow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2EC392AE-216C-49DD-8190-4785971274D3}"/>
              </a:ext>
            </a:extLst>
          </p:cNvPr>
          <p:cNvSpPr/>
          <p:nvPr/>
        </p:nvSpPr>
        <p:spPr>
          <a:xfrm>
            <a:off x="8713138" y="5071407"/>
            <a:ext cx="338812" cy="873433"/>
          </a:xfrm>
          <a:prstGeom prst="rightArrow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13CBA875-0F0C-40CB-BC41-E9ECF8882849}"/>
              </a:ext>
            </a:extLst>
          </p:cNvPr>
          <p:cNvSpPr/>
          <p:nvPr/>
        </p:nvSpPr>
        <p:spPr>
          <a:xfrm>
            <a:off x="8510702" y="2124840"/>
            <a:ext cx="408371" cy="873433"/>
          </a:xfrm>
          <a:prstGeom prst="rightArrow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11BFC68E-F2F7-4E60-A758-177AC8C16B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63136" y="1495323"/>
            <a:ext cx="3919055" cy="283405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D422C41-39AE-4188-9343-228B9EAF0597}"/>
              </a:ext>
            </a:extLst>
          </p:cNvPr>
          <p:cNvPicPr/>
          <p:nvPr/>
        </p:nvPicPr>
        <p:blipFill>
          <a:blip r:embed="rId10"/>
          <a:stretch>
            <a:fillRect/>
          </a:stretch>
        </p:blipFill>
        <p:spPr>
          <a:xfrm>
            <a:off x="9160005" y="4660735"/>
            <a:ext cx="3849271" cy="152315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A6F6FCC1-224B-43F6-9E6B-0D0CC81DFD4A}"/>
              </a:ext>
            </a:extLst>
          </p:cNvPr>
          <p:cNvSpPr txBox="1"/>
          <p:nvPr/>
        </p:nvSpPr>
        <p:spPr>
          <a:xfrm>
            <a:off x="9350375" y="4461614"/>
            <a:ext cx="3468530" cy="15292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en-AU" sz="1100">
                <a:cs typeface="Arial Narrow" pitchFamily="34" charset="0"/>
              </a:rPr>
              <a:t>6. X-Selling Screen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4507E48D-0DDD-49B6-987F-35F49E0DDA8A}"/>
              </a:ext>
            </a:extLst>
          </p:cNvPr>
          <p:cNvSpPr/>
          <p:nvPr/>
        </p:nvSpPr>
        <p:spPr>
          <a:xfrm>
            <a:off x="-120574" y="5422313"/>
            <a:ext cx="408371" cy="873433"/>
          </a:xfrm>
          <a:prstGeom prst="rightArrow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en-AU" sz="150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A7B4716-002F-4E7D-ABD9-A118F604718D}"/>
              </a:ext>
            </a:extLst>
          </p:cNvPr>
          <p:cNvSpPr txBox="1"/>
          <p:nvPr/>
        </p:nvSpPr>
        <p:spPr>
          <a:xfrm>
            <a:off x="8212913" y="1176716"/>
            <a:ext cx="4182086" cy="15292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DE" sz="1100">
                <a:cs typeface="Arial Narrow" pitchFamily="34" charset="0"/>
              </a:rPr>
              <a:t>3. Priorisierte Beratungsthemen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7E3FA04-A3BB-42C4-9E45-9AEAD06ED089}"/>
              </a:ext>
            </a:extLst>
          </p:cNvPr>
          <p:cNvGrpSpPr/>
          <p:nvPr/>
        </p:nvGrpSpPr>
        <p:grpSpPr>
          <a:xfrm>
            <a:off x="-153329" y="1245818"/>
            <a:ext cx="8664031" cy="3247847"/>
            <a:chOff x="248119" y="1888568"/>
            <a:chExt cx="8664031" cy="3247847"/>
          </a:xfrm>
        </p:grpSpPr>
        <p:pic>
          <p:nvPicPr>
            <p:cNvPr id="40" name="Grafik 39" descr="Ein Bild, das Screenshot enthält.&#10;&#10;Automatisch generierte Beschreibung">
              <a:extLst>
                <a:ext uri="{FF2B5EF4-FFF2-40B4-BE49-F238E27FC236}">
                  <a16:creationId xmlns:a16="http://schemas.microsoft.com/office/drawing/2014/main" id="{5DB76EEB-C687-4F3C-BE02-7644668B79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45" t="13125" r="22800" b="2674"/>
            <a:stretch/>
          </p:blipFill>
          <p:spPr>
            <a:xfrm>
              <a:off x="5220294" y="2138073"/>
              <a:ext cx="3691856" cy="299834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127000" algn="ctr" rotWithShape="0">
                <a:srgbClr val="000000">
                  <a:alpha val="20000"/>
                </a:srgbClr>
              </a:outerShdw>
            </a:effec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06D0E22-FAE1-4279-8E91-D954F92433C3}"/>
                </a:ext>
              </a:extLst>
            </p:cNvPr>
            <p:cNvPicPr/>
            <p:nvPr/>
          </p:nvPicPr>
          <p:blipFill>
            <a:blip r:embed="rId12"/>
            <a:stretch>
              <a:fillRect/>
            </a:stretch>
          </p:blipFill>
          <p:spPr>
            <a:xfrm>
              <a:off x="248119" y="2138073"/>
              <a:ext cx="4302191" cy="299834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127000" algn="ctr" rotWithShape="0">
                <a:srgbClr val="000000">
                  <a:alpha val="20000"/>
                </a:srgbClr>
              </a:outerShdw>
            </a:effectLst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E463679D-77B5-43B5-9011-C3A7C120886C}"/>
                </a:ext>
              </a:extLst>
            </p:cNvPr>
            <p:cNvSpPr txBox="1"/>
            <p:nvPr/>
          </p:nvSpPr>
          <p:spPr>
            <a:xfrm>
              <a:off x="5369817" y="1888568"/>
              <a:ext cx="3392810" cy="1529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de-DE" sz="1100">
                  <a:cs typeface="Arial Narrow" pitchFamily="34" charset="0"/>
                </a:rPr>
                <a:t>2. Ergebnisse der Bedarfsanalyse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19F51A84-7D49-4FCB-8793-CF7F61002914}"/>
                </a:ext>
              </a:extLst>
            </p:cNvPr>
            <p:cNvSpPr txBox="1"/>
            <p:nvPr/>
          </p:nvSpPr>
          <p:spPr>
            <a:xfrm>
              <a:off x="308171" y="1891816"/>
              <a:ext cx="4182086" cy="15292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de-DE" sz="1100">
                  <a:cs typeface="Arial Narrow" pitchFamily="34" charset="0"/>
                </a:rPr>
                <a:t>1. Ganzheitliche Bedarfsanalyse</a:t>
              </a:r>
            </a:p>
          </p:txBody>
        </p:sp>
        <p:sp>
          <p:nvSpPr>
            <p:cNvPr id="4" name="Pfeil: nach rechts 3">
              <a:extLst>
                <a:ext uri="{FF2B5EF4-FFF2-40B4-BE49-F238E27FC236}">
                  <a16:creationId xmlns:a16="http://schemas.microsoft.com/office/drawing/2014/main" id="{499406DE-E547-4025-83AE-36169CFFD958}"/>
                </a:ext>
              </a:extLst>
            </p:cNvPr>
            <p:cNvSpPr/>
            <p:nvPr/>
          </p:nvSpPr>
          <p:spPr>
            <a:xfrm>
              <a:off x="4706695" y="3137418"/>
              <a:ext cx="408371" cy="873433"/>
            </a:xfrm>
            <a:prstGeom prst="rightArrow">
              <a:avLst/>
            </a:prstGeom>
            <a:solidFill>
              <a:schemeClr val="bg2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de-DE" sz="1500"/>
            </a:p>
          </p:txBody>
        </p:sp>
      </p:grp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894D6E7A-11AC-4C03-9D32-BF3A9F578B54}"/>
              </a:ext>
            </a:extLst>
          </p:cNvPr>
          <p:cNvSpPr/>
          <p:nvPr/>
        </p:nvSpPr>
        <p:spPr>
          <a:xfrm>
            <a:off x="8789622" y="6244737"/>
            <a:ext cx="1649818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200">
                <a:solidFill>
                  <a:schemeClr val="bg1"/>
                </a:solidFill>
              </a:rPr>
              <a:t>Algorithmus:</a:t>
            </a:r>
            <a:br>
              <a:rPr lang="de-AT" sz="1200">
                <a:solidFill>
                  <a:schemeClr val="bg1"/>
                </a:solidFill>
              </a:rPr>
            </a:br>
            <a:r>
              <a:rPr lang="de-AT" sz="1200">
                <a:solidFill>
                  <a:schemeClr val="bg1"/>
                </a:solidFill>
              </a:rPr>
              <a:t>Next Best Product</a:t>
            </a:r>
          </a:p>
        </p:txBody>
      </p:sp>
    </p:spTree>
    <p:extLst>
      <p:ext uri="{BB962C8B-B14F-4D97-AF65-F5344CB8AC3E}">
        <p14:creationId xmlns:p14="http://schemas.microsoft.com/office/powerpoint/2010/main" val="3769322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740C7-D8D6-4F0C-AA24-00D3E6950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4. Use Case: Beratung von Firmenkunden – Von der Risikoanalyse bis zum ESG </a:t>
            </a:r>
            <a:r>
              <a:rPr lang="en-US" err="1"/>
              <a:t>Analyser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49EA2C-F93F-44F4-A934-F34AF5219E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122" y="1367560"/>
            <a:ext cx="4100705" cy="51316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feld 26">
            <a:extLst>
              <a:ext uri="{FF2B5EF4-FFF2-40B4-BE49-F238E27FC236}">
                <a16:creationId xmlns:a16="http://schemas.microsoft.com/office/drawing/2014/main" id="{3E3A8590-1792-49CE-AB9A-2EE909528695}"/>
              </a:ext>
            </a:extLst>
          </p:cNvPr>
          <p:cNvSpPr txBox="1"/>
          <p:nvPr/>
        </p:nvSpPr>
        <p:spPr>
          <a:xfrm>
            <a:off x="5266961" y="1361853"/>
            <a:ext cx="4631126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400">
                <a:solidFill>
                  <a:schemeClr val="accent1"/>
                </a:solidFill>
                <a:latin typeface="+mj-lt"/>
                <a:cs typeface="Arial Narrow" pitchFamily="34" charset="0"/>
              </a:rPr>
              <a:t>Risikoanalys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C8BEDF-CE48-4BD6-A092-509C57A396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6961" y="1591003"/>
            <a:ext cx="2885308" cy="2009168"/>
          </a:xfrm>
          <a:prstGeom prst="rect">
            <a:avLst/>
          </a:prstGeom>
          <a:effectLst>
            <a:outerShdw blurRad="63500" sx="102000" sy="102000" algn="ctr" rotWithShape="0">
              <a:schemeClr val="bg2">
                <a:lumMod val="50000"/>
                <a:alpha val="40000"/>
              </a:schemeClr>
            </a:outerShdw>
          </a:effectLst>
        </p:spPr>
      </p:pic>
      <p:sp>
        <p:nvSpPr>
          <p:cNvPr id="16" name="Rechteck 53">
            <a:extLst>
              <a:ext uri="{FF2B5EF4-FFF2-40B4-BE49-F238E27FC236}">
                <a16:creationId xmlns:a16="http://schemas.microsoft.com/office/drawing/2014/main" id="{68819BA4-EEE6-411A-9462-0A7C505476B8}"/>
              </a:ext>
            </a:extLst>
          </p:cNvPr>
          <p:cNvSpPr/>
          <p:nvPr/>
        </p:nvSpPr>
        <p:spPr>
          <a:xfrm>
            <a:off x="5558980" y="6396944"/>
            <a:ext cx="4278750" cy="33304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200">
                <a:solidFill>
                  <a:schemeClr val="accent1"/>
                </a:solidFill>
              </a:rPr>
              <a:t>Extra Tools: </a:t>
            </a:r>
            <a:r>
              <a:rPr lang="de-AT" sz="1200"/>
              <a:t>ESG </a:t>
            </a:r>
            <a:r>
              <a:rPr lang="de-AT" sz="1200" err="1"/>
              <a:t>rating</a:t>
            </a:r>
            <a:r>
              <a:rPr lang="de-AT" sz="1200"/>
              <a:t>, Firmenbuch, Automatische Gebäudewertermittlung, </a:t>
            </a:r>
            <a:r>
              <a:rPr lang="de-AT" sz="1200" err="1"/>
              <a:t>NatCat</a:t>
            </a:r>
            <a:endParaRPr lang="de-AT" sz="1200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167BA38D-B95B-4FBA-9669-A05F54C06F52}"/>
              </a:ext>
            </a:extLst>
          </p:cNvPr>
          <p:cNvSpPr/>
          <p:nvPr/>
        </p:nvSpPr>
        <p:spPr>
          <a:xfrm>
            <a:off x="4688856" y="3612679"/>
            <a:ext cx="393745" cy="867842"/>
          </a:xfrm>
          <a:prstGeom prst="rightArrow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sp>
        <p:nvSpPr>
          <p:cNvPr id="21" name="Textfeld 26">
            <a:extLst>
              <a:ext uri="{FF2B5EF4-FFF2-40B4-BE49-F238E27FC236}">
                <a16:creationId xmlns:a16="http://schemas.microsoft.com/office/drawing/2014/main" id="{A26B7FFA-83FB-4CAB-8929-5E2202CEAA38}"/>
              </a:ext>
            </a:extLst>
          </p:cNvPr>
          <p:cNvSpPr txBox="1"/>
          <p:nvPr/>
        </p:nvSpPr>
        <p:spPr>
          <a:xfrm>
            <a:off x="9211907" y="2351519"/>
            <a:ext cx="2693581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400">
                <a:solidFill>
                  <a:schemeClr val="accent1"/>
                </a:solidFill>
                <a:latin typeface="+mj-lt"/>
                <a:cs typeface="Arial Narrow" pitchFamily="34" charset="0"/>
              </a:rPr>
              <a:t>Digitales Angebot &amp; Abschluss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082FD6-1C2F-4661-B912-34033B9286D1}"/>
              </a:ext>
            </a:extLst>
          </p:cNvPr>
          <p:cNvGrpSpPr/>
          <p:nvPr/>
        </p:nvGrpSpPr>
        <p:grpSpPr>
          <a:xfrm>
            <a:off x="9211907" y="2605026"/>
            <a:ext cx="2599492" cy="2313301"/>
            <a:chOff x="409668" y="1428895"/>
            <a:chExt cx="5022858" cy="5152516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3CB2E7A-88E3-4F3B-9F9D-E7DCD5FAC6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9668" y="1428895"/>
              <a:ext cx="5022858" cy="515251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568328C-CB6E-46D7-9CF2-DE68A460C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78985" y="2899680"/>
              <a:ext cx="881729" cy="327499"/>
            </a:xfrm>
            <a:prstGeom prst="rect">
              <a:avLst/>
            </a:prstGeom>
          </p:spPr>
        </p:pic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24912C87-D069-42C3-ACF1-0E6C15715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8980" y="4197106"/>
            <a:ext cx="3027412" cy="2139781"/>
          </a:xfrm>
          <a:prstGeom prst="rect">
            <a:avLst/>
          </a:prstGeom>
          <a:effectLst>
            <a:outerShdw blurRad="63500" sx="102000" sy="102000" algn="ctr" rotWithShape="0">
              <a:schemeClr val="bg2">
                <a:lumMod val="50000"/>
                <a:alpha val="40000"/>
              </a:schemeClr>
            </a:outerShdw>
          </a:effectLst>
        </p:spPr>
      </p:pic>
      <p:sp>
        <p:nvSpPr>
          <p:cNvPr id="13" name="Textfeld 26">
            <a:extLst>
              <a:ext uri="{FF2B5EF4-FFF2-40B4-BE49-F238E27FC236}">
                <a16:creationId xmlns:a16="http://schemas.microsoft.com/office/drawing/2014/main" id="{9E144D4F-8AD4-424C-9B87-437DB2D1B508}"/>
              </a:ext>
            </a:extLst>
          </p:cNvPr>
          <p:cNvSpPr txBox="1"/>
          <p:nvPr/>
        </p:nvSpPr>
        <p:spPr>
          <a:xfrm>
            <a:off x="5558980" y="3949651"/>
            <a:ext cx="4631126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1400">
                <a:solidFill>
                  <a:schemeClr val="accent1"/>
                </a:solidFill>
                <a:latin typeface="+mj-lt"/>
                <a:cs typeface="Arial Narrow" pitchFamily="34" charset="0"/>
              </a:rPr>
              <a:t>ESG </a:t>
            </a:r>
            <a:r>
              <a:rPr lang="de-AT" sz="1400" err="1">
                <a:solidFill>
                  <a:schemeClr val="accent1"/>
                </a:solidFill>
                <a:latin typeface="+mj-lt"/>
                <a:cs typeface="Arial Narrow" pitchFamily="34" charset="0"/>
              </a:rPr>
              <a:t>Analyser</a:t>
            </a:r>
            <a:endParaRPr lang="de-AT" sz="1400">
              <a:solidFill>
                <a:schemeClr val="accent1"/>
              </a:solidFill>
              <a:latin typeface="+mj-lt"/>
              <a:cs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05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9C87EE32-D225-4C63-A806-4CFAA019F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>
                <a:solidFill>
                  <a:schemeClr val="bg1"/>
                </a:solidFill>
              </a:rPr>
              <a:t>5. Use Case: </a:t>
            </a:r>
            <a:r>
              <a:rPr lang="de-AT" b="1">
                <a:solidFill>
                  <a:schemeClr val="bg1"/>
                </a:solidFill>
              </a:rPr>
              <a:t>Chatbots</a:t>
            </a:r>
            <a:br>
              <a:rPr lang="de-AT">
                <a:solidFill>
                  <a:schemeClr val="bg1"/>
                </a:solidFill>
              </a:rPr>
            </a:br>
            <a:r>
              <a:rPr lang="de-AT">
                <a:solidFill>
                  <a:schemeClr val="bg1"/>
                </a:solidFill>
              </a:rPr>
              <a:t>-&gt; Verfügbarkeit 24/7 zu marginalen Kosten</a:t>
            </a:r>
            <a:endParaRPr lang="de-AT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1300E99-8FB2-4A4D-BD62-FB4D4DD8D46A}"/>
              </a:ext>
            </a:extLst>
          </p:cNvPr>
          <p:cNvSpPr/>
          <p:nvPr/>
        </p:nvSpPr>
        <p:spPr>
          <a:xfrm>
            <a:off x="628893" y="1492702"/>
            <a:ext cx="978195" cy="270918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6C3BE21-CF0E-4B41-940E-8ADAE4219F19}"/>
              </a:ext>
            </a:extLst>
          </p:cNvPr>
          <p:cNvSpPr/>
          <p:nvPr/>
        </p:nvSpPr>
        <p:spPr>
          <a:xfrm>
            <a:off x="7539656" y="1763620"/>
            <a:ext cx="958516" cy="188603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2D0BE36-4ACE-44A4-A061-BE6FA66EE2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444" t="7214" r="3279" b="6848"/>
          <a:stretch/>
        </p:blipFill>
        <p:spPr>
          <a:xfrm>
            <a:off x="7880219" y="1689291"/>
            <a:ext cx="3606508" cy="2321564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8347E3A-76DC-4977-AB23-E8700D7F02B3}"/>
              </a:ext>
            </a:extLst>
          </p:cNvPr>
          <p:cNvGrpSpPr/>
          <p:nvPr/>
        </p:nvGrpSpPr>
        <p:grpSpPr>
          <a:xfrm>
            <a:off x="446472" y="1763620"/>
            <a:ext cx="5029604" cy="3021186"/>
            <a:chOff x="1646586" y="1918603"/>
            <a:chExt cx="5029604" cy="302118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DFD03A83-2801-4FD5-8BDA-A4268908B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46586" y="1918603"/>
              <a:ext cx="5029604" cy="2453080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127000" algn="ctr" rotWithShape="0">
                <a:srgbClr val="000000">
                  <a:alpha val="20000"/>
                </a:srgbClr>
              </a:outerShdw>
            </a:effectLst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20C29F1-7D66-47F2-929D-29BCDC925F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114" t="616" r="1788" b="-1"/>
            <a:stretch/>
          </p:blipFill>
          <p:spPr>
            <a:xfrm>
              <a:off x="2142462" y="2753832"/>
              <a:ext cx="1560287" cy="2185957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127000" algn="ctr" rotWithShape="0">
                <a:srgbClr val="000000">
                  <a:alpha val="20000"/>
                </a:srgbClr>
              </a:outerShdw>
            </a:effectLst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A4653BB-13C1-42BD-81FD-3D4C648BA522}"/>
                </a:ext>
              </a:extLst>
            </p:cNvPr>
            <p:cNvSpPr/>
            <p:nvPr/>
          </p:nvSpPr>
          <p:spPr>
            <a:xfrm>
              <a:off x="5467679" y="2807806"/>
              <a:ext cx="460013" cy="132172"/>
            </a:xfrm>
            <a:prstGeom prst="rect">
              <a:avLst/>
            </a:prstGeom>
            <a:solidFill>
              <a:srgbClr val="D51130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04472E-4B0A-46FB-9353-528A02058754}"/>
                </a:ext>
              </a:extLst>
            </p:cNvPr>
            <p:cNvSpPr/>
            <p:nvPr/>
          </p:nvSpPr>
          <p:spPr>
            <a:xfrm>
              <a:off x="2142462" y="2753832"/>
              <a:ext cx="544997" cy="192497"/>
            </a:xfrm>
            <a:prstGeom prst="rect">
              <a:avLst/>
            </a:prstGeom>
            <a:solidFill>
              <a:srgbClr val="D51130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D99A893-ED36-41ED-90F8-88D4EFAECC02}"/>
                </a:ext>
              </a:extLst>
            </p:cNvPr>
            <p:cNvSpPr/>
            <p:nvPr/>
          </p:nvSpPr>
          <p:spPr>
            <a:xfrm>
              <a:off x="2232797" y="2073586"/>
              <a:ext cx="665647" cy="27091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5CF8B4-345B-47B6-B5E6-9A54CA414522}"/>
                </a:ext>
              </a:extLst>
            </p:cNvPr>
            <p:cNvSpPr/>
            <p:nvPr/>
          </p:nvSpPr>
          <p:spPr>
            <a:xfrm>
              <a:off x="5529569" y="2005837"/>
              <a:ext cx="249912" cy="6578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</p:grpSp>
      <p:sp>
        <p:nvSpPr>
          <p:cNvPr id="15" name="Rechteck 12">
            <a:extLst>
              <a:ext uri="{FF2B5EF4-FFF2-40B4-BE49-F238E27FC236}">
                <a16:creationId xmlns:a16="http://schemas.microsoft.com/office/drawing/2014/main" id="{48C51CA2-1632-4397-973A-49D6B18E477E}"/>
              </a:ext>
            </a:extLst>
          </p:cNvPr>
          <p:cNvSpPr/>
          <p:nvPr/>
        </p:nvSpPr>
        <p:spPr>
          <a:xfrm>
            <a:off x="1424878" y="1261322"/>
            <a:ext cx="31997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Vertrieb von Haushaltsversicherung</a:t>
            </a:r>
            <a:endParaRPr lang="de-AT" sz="1400" b="1">
              <a:solidFill>
                <a:schemeClr val="accent1"/>
              </a:solidFill>
            </a:endParaRPr>
          </a:p>
        </p:txBody>
      </p:sp>
      <p:sp>
        <p:nvSpPr>
          <p:cNvPr id="16" name="Rechteck 12">
            <a:extLst>
              <a:ext uri="{FF2B5EF4-FFF2-40B4-BE49-F238E27FC236}">
                <a16:creationId xmlns:a16="http://schemas.microsoft.com/office/drawing/2014/main" id="{5D5E560B-1FEC-4B21-B336-0A8B5566E8D9}"/>
              </a:ext>
            </a:extLst>
          </p:cNvPr>
          <p:cNvSpPr/>
          <p:nvPr/>
        </p:nvSpPr>
        <p:spPr>
          <a:xfrm>
            <a:off x="7880219" y="1255121"/>
            <a:ext cx="36800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AT" sz="1400">
                <a:solidFill>
                  <a:schemeClr val="accent1"/>
                </a:solidFill>
              </a:rPr>
              <a:t>FAQs zur Krankenversicherung</a:t>
            </a:r>
            <a:endParaRPr lang="de-AT" sz="1400" b="1">
              <a:solidFill>
                <a:schemeClr val="accent1"/>
              </a:solidFill>
            </a:endParaRPr>
          </a:p>
        </p:txBody>
      </p:sp>
      <p:sp>
        <p:nvSpPr>
          <p:cNvPr id="17" name="Rechteck 12">
            <a:extLst>
              <a:ext uri="{FF2B5EF4-FFF2-40B4-BE49-F238E27FC236}">
                <a16:creationId xmlns:a16="http://schemas.microsoft.com/office/drawing/2014/main" id="{2B648DC1-4BF2-4852-AD87-B71DD6808617}"/>
              </a:ext>
            </a:extLst>
          </p:cNvPr>
          <p:cNvSpPr/>
          <p:nvPr/>
        </p:nvSpPr>
        <p:spPr>
          <a:xfrm>
            <a:off x="7651685" y="4784806"/>
            <a:ext cx="23858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Schadensmeldungen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402FDE-51F3-44A4-AED2-23578CB89B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84"/>
          <a:stretch/>
        </p:blipFill>
        <p:spPr bwMode="auto">
          <a:xfrm>
            <a:off x="3468993" y="3896680"/>
            <a:ext cx="4070663" cy="266918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2">
            <a:extLst>
              <a:ext uri="{FF2B5EF4-FFF2-40B4-BE49-F238E27FC236}">
                <a16:creationId xmlns:a16="http://schemas.microsoft.com/office/drawing/2014/main" id="{D2242B04-69D3-4F0B-9A61-E058573FD4C3}"/>
              </a:ext>
            </a:extLst>
          </p:cNvPr>
          <p:cNvSpPr/>
          <p:nvPr/>
        </p:nvSpPr>
        <p:spPr>
          <a:xfrm>
            <a:off x="7651685" y="5704094"/>
            <a:ext cx="454031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Unsere Bots:</a:t>
            </a:r>
            <a:br>
              <a:rPr lang="de-AT" sz="1400">
                <a:solidFill>
                  <a:schemeClr val="accent1"/>
                </a:solidFill>
              </a:rPr>
            </a:br>
            <a:br>
              <a:rPr lang="de-AT" sz="1200">
                <a:solidFill>
                  <a:schemeClr val="accent1"/>
                </a:solidFill>
              </a:rPr>
            </a:br>
            <a:r>
              <a:rPr lang="de-AT" sz="1200">
                <a:solidFill>
                  <a:schemeClr val="accent1"/>
                </a:solidFill>
              </a:rPr>
              <a:t>-&gt; vortrainiert mit umfassendem Versicherungs-Knowhow</a:t>
            </a:r>
          </a:p>
          <a:p>
            <a:r>
              <a:rPr lang="de-AT" sz="1200">
                <a:solidFill>
                  <a:schemeClr val="accent1"/>
                </a:solidFill>
              </a:rPr>
              <a:t>-&gt; ganz auf Ihre Wünsche anpassbar</a:t>
            </a:r>
          </a:p>
        </p:txBody>
      </p:sp>
    </p:spTree>
    <p:extLst>
      <p:ext uri="{BB962C8B-B14F-4D97-AF65-F5344CB8AC3E}">
        <p14:creationId xmlns:p14="http://schemas.microsoft.com/office/powerpoint/2010/main" val="2904601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5FB321FD-82DD-4E26-856F-37B01169A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825" y="1419433"/>
            <a:ext cx="4778716" cy="24251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D8E1FB3-D055-4972-AEF5-DDB400366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>
                <a:solidFill>
                  <a:schemeClr val="bg1"/>
                </a:solidFill>
              </a:rPr>
              <a:t>Umfangreiche Analysen sind in all unseren Produkten inkludier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E8EA79C-32A6-4D8E-9A25-21CE8318E2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760" y="1400132"/>
            <a:ext cx="5655016" cy="24638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4AFDF89-514D-4553-9C90-2870592229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760" y="4189945"/>
            <a:ext cx="2130765" cy="217498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CCF0B117-8E73-4713-ADA8-4985BA5C8B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419" y="4189945"/>
            <a:ext cx="2581580" cy="217498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12">
            <a:extLst>
              <a:ext uri="{FF2B5EF4-FFF2-40B4-BE49-F238E27FC236}">
                <a16:creationId xmlns:a16="http://schemas.microsoft.com/office/drawing/2014/main" id="{62D5F8B4-330B-4664-A3F5-333651F3D18E}"/>
              </a:ext>
            </a:extLst>
          </p:cNvPr>
          <p:cNvSpPr/>
          <p:nvPr/>
        </p:nvSpPr>
        <p:spPr>
          <a:xfrm>
            <a:off x="2328616" y="1099520"/>
            <a:ext cx="1555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Produktnutzung</a:t>
            </a:r>
          </a:p>
        </p:txBody>
      </p:sp>
      <p:sp>
        <p:nvSpPr>
          <p:cNvPr id="10" name="Rechteck 12">
            <a:extLst>
              <a:ext uri="{FF2B5EF4-FFF2-40B4-BE49-F238E27FC236}">
                <a16:creationId xmlns:a16="http://schemas.microsoft.com/office/drawing/2014/main" id="{960D3E56-6780-475C-B9B8-5622FDC154BA}"/>
              </a:ext>
            </a:extLst>
          </p:cNvPr>
          <p:cNvSpPr/>
          <p:nvPr/>
        </p:nvSpPr>
        <p:spPr>
          <a:xfrm>
            <a:off x="8272166" y="1111656"/>
            <a:ext cx="150028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Nutzeranalysen</a:t>
            </a:r>
          </a:p>
        </p:txBody>
      </p:sp>
      <p:sp>
        <p:nvSpPr>
          <p:cNvPr id="11" name="Rechteck 12">
            <a:extLst>
              <a:ext uri="{FF2B5EF4-FFF2-40B4-BE49-F238E27FC236}">
                <a16:creationId xmlns:a16="http://schemas.microsoft.com/office/drawing/2014/main" id="{33F3AD5E-8852-41E2-B98A-59358F20155E}"/>
              </a:ext>
            </a:extLst>
          </p:cNvPr>
          <p:cNvSpPr/>
          <p:nvPr/>
        </p:nvSpPr>
        <p:spPr>
          <a:xfrm>
            <a:off x="6600825" y="4152409"/>
            <a:ext cx="4664206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  <a:sym typeface="+mn-lt"/>
              </a:rPr>
              <a:t>Entwicklung der Sessions pro Kundengruppe?</a:t>
            </a:r>
          </a:p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  <a:sym typeface="+mn-lt"/>
              </a:rPr>
              <a:t>Welche Produkte wurden empfohlen?</a:t>
            </a:r>
          </a:p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  <a:sym typeface="+mn-lt"/>
              </a:rPr>
              <a:t>Wer hat was gekauft?</a:t>
            </a:r>
          </a:p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  <a:sym typeface="+mn-lt"/>
              </a:rPr>
              <a:t>Wo hat der User draufgeklickt?</a:t>
            </a:r>
            <a:endParaRPr lang="de-AT" sz="1400">
              <a:solidFill>
                <a:schemeClr val="accent1"/>
              </a:solidFill>
            </a:endParaRPr>
          </a:p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</a:rPr>
              <a:t>Dauer der Session?</a:t>
            </a:r>
          </a:p>
          <a:p>
            <a:pPr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400">
                <a:solidFill>
                  <a:schemeClr val="accent1"/>
                </a:solidFill>
              </a:rPr>
              <a:t>Wo wurde die Strecke abgebrochen?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22FEEFF-588B-4C58-B131-E6918E471531}"/>
              </a:ext>
            </a:extLst>
          </p:cNvPr>
          <p:cNvSpPr/>
          <p:nvPr/>
        </p:nvSpPr>
        <p:spPr>
          <a:xfrm>
            <a:off x="6715125" y="1933575"/>
            <a:ext cx="447675" cy="191105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</p:spTree>
    <p:extLst>
      <p:ext uri="{BB962C8B-B14F-4D97-AF65-F5344CB8AC3E}">
        <p14:creationId xmlns:p14="http://schemas.microsoft.com/office/powerpoint/2010/main" val="1930292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D24C02-00A8-4396-8532-83C983E17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Lösungen werden mit einem umfangreichen Administration Tools geliefert</a:t>
            </a:r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2BDF599E-A110-490A-B86A-7B7D3B6D8379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364" y="2114125"/>
            <a:ext cx="5075742" cy="3350124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254000" algn="ctr" rotWithShape="0">
              <a:srgbClr val="000000">
                <a:alpha val="20000"/>
              </a:srgbClr>
            </a:outerShdw>
          </a:effectLst>
        </p:spPr>
      </p:pic>
      <p:grpSp>
        <p:nvGrpSpPr>
          <p:cNvPr id="15" name="Gruppieren 3">
            <a:extLst>
              <a:ext uri="{FF2B5EF4-FFF2-40B4-BE49-F238E27FC236}">
                <a16:creationId xmlns:a16="http://schemas.microsoft.com/office/drawing/2014/main" id="{DC994375-41CD-444D-B0CB-D42E9B22E434}"/>
              </a:ext>
            </a:extLst>
          </p:cNvPr>
          <p:cNvGrpSpPr>
            <a:grpSpLocks/>
          </p:cNvGrpSpPr>
          <p:nvPr/>
        </p:nvGrpSpPr>
        <p:grpSpPr>
          <a:xfrm>
            <a:off x="549274" y="2114125"/>
            <a:ext cx="5075742" cy="3350124"/>
            <a:chOff x="539750" y="2351508"/>
            <a:chExt cx="3465445" cy="2314799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17B1F3A0-02BC-4663-B5FD-E36C6C9A7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750" y="2351508"/>
              <a:ext cx="3465445" cy="2314799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254000" algn="ctr" rotWithShape="0">
                <a:srgbClr val="000000">
                  <a:alpha val="20000"/>
                </a:srgbClr>
              </a:outerShdw>
            </a:effectLst>
          </p:spPr>
        </p:pic>
        <p:grpSp>
          <p:nvGrpSpPr>
            <p:cNvPr id="17" name="Gruppieren 14">
              <a:extLst>
                <a:ext uri="{FF2B5EF4-FFF2-40B4-BE49-F238E27FC236}">
                  <a16:creationId xmlns:a16="http://schemas.microsoft.com/office/drawing/2014/main" id="{681D1227-9BC8-48E1-A85D-87E0BA117999}"/>
                </a:ext>
              </a:extLst>
            </p:cNvPr>
            <p:cNvGrpSpPr/>
            <p:nvPr/>
          </p:nvGrpSpPr>
          <p:grpSpPr>
            <a:xfrm>
              <a:off x="598690" y="2551176"/>
              <a:ext cx="3140151" cy="2113023"/>
              <a:chOff x="-2674848" y="2107710"/>
              <a:chExt cx="5854718" cy="3977834"/>
            </a:xfrm>
            <a:effectLst/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EF907E9B-4B97-49E8-B9E8-F88062C3B36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25250"/>
              <a:stretch/>
            </p:blipFill>
            <p:spPr>
              <a:xfrm>
                <a:off x="-2156791" y="3352790"/>
                <a:ext cx="4949688" cy="2732754"/>
              </a:xfrm>
              <a:prstGeom prst="rect">
                <a:avLst/>
              </a:prstGeom>
            </p:spPr>
          </p:pic>
          <p:pic>
            <p:nvPicPr>
              <p:cNvPr id="19" name="Grafik 12">
                <a:extLst>
                  <a:ext uri="{FF2B5EF4-FFF2-40B4-BE49-F238E27FC236}">
                    <a16:creationId xmlns:a16="http://schemas.microsoft.com/office/drawing/2014/main" id="{D43A5F08-E522-431F-91C5-5A65CCFA09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47890"/>
              <a:stretch/>
            </p:blipFill>
            <p:spPr>
              <a:xfrm>
                <a:off x="-2287873" y="3352791"/>
                <a:ext cx="5080768" cy="1593022"/>
              </a:xfrm>
              <a:prstGeom prst="rect">
                <a:avLst/>
              </a:prstGeom>
            </p:spPr>
          </p:pic>
          <p:pic>
            <p:nvPicPr>
              <p:cNvPr id="20" name="Grafik 11">
                <a:extLst>
                  <a:ext uri="{FF2B5EF4-FFF2-40B4-BE49-F238E27FC236}">
                    <a16:creationId xmlns:a16="http://schemas.microsoft.com/office/drawing/2014/main" id="{1AF047C2-4884-49DD-86FD-1743A6A5D7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12427" b="64056"/>
              <a:stretch/>
            </p:blipFill>
            <p:spPr>
              <a:xfrm>
                <a:off x="-2674848" y="2107710"/>
                <a:ext cx="5854718" cy="718897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7B630003-7555-4D26-83FA-6C33958211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b="70542"/>
              <a:stretch/>
            </p:blipFill>
            <p:spPr>
              <a:xfrm>
                <a:off x="-2287873" y="2812102"/>
                <a:ext cx="5080768" cy="900531"/>
              </a:xfrm>
              <a:prstGeom prst="rect">
                <a:avLst/>
              </a:prstGeom>
            </p:spPr>
          </p:pic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B163B045-380B-4B7E-B54C-A59C929508BF}"/>
              </a:ext>
            </a:extLst>
          </p:cNvPr>
          <p:cNvSpPr txBox="1"/>
          <p:nvPr/>
        </p:nvSpPr>
        <p:spPr>
          <a:xfrm>
            <a:off x="549274" y="1849389"/>
            <a:ext cx="5075742" cy="2159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DE" sz="1500" b="0" noProof="0">
                <a:solidFill>
                  <a:schemeClr val="accent1"/>
                </a:solidFill>
                <a:latin typeface="+mn-lt"/>
                <a:cs typeface="Arial Narrow" pitchFamily="34" charset="0"/>
              </a:rPr>
              <a:t>EDITING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A3B8EFD-9AC7-4467-89C8-3584DA763F22}"/>
              </a:ext>
            </a:extLst>
          </p:cNvPr>
          <p:cNvSpPr txBox="1"/>
          <p:nvPr/>
        </p:nvSpPr>
        <p:spPr>
          <a:xfrm>
            <a:off x="6607364" y="1849389"/>
            <a:ext cx="5075742" cy="21597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DE" sz="1500" b="0" noProof="0">
                <a:solidFill>
                  <a:schemeClr val="accent1"/>
                </a:solidFill>
                <a:latin typeface="+mn-lt"/>
                <a:cs typeface="Arial Narrow" pitchFamily="34" charset="0"/>
              </a:rPr>
              <a:t>VIEWING</a:t>
            </a:r>
          </a:p>
        </p:txBody>
      </p:sp>
    </p:spTree>
    <p:extLst>
      <p:ext uri="{BB962C8B-B14F-4D97-AF65-F5344CB8AC3E}">
        <p14:creationId xmlns:p14="http://schemas.microsoft.com/office/powerpoint/2010/main" val="36287304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16745D-A776-4322-BACF-B8F318B36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Versicherungen, Banken &amp; Makler vertrauen unseren Lösungen in acht Märkten</a:t>
            </a:r>
            <a:endParaRPr lang="de-AT" b="1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9DB3CDEF-59B2-4668-8AAD-7BE692DA31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36777" y="1291369"/>
            <a:ext cx="3230800" cy="191014"/>
          </a:xfrm>
        </p:spPr>
        <p:txBody>
          <a:bodyPr/>
          <a:lstStyle/>
          <a:p>
            <a:r>
              <a:rPr lang="de-AT" sz="1100"/>
              <a:t>Unsere </a:t>
            </a:r>
            <a:r>
              <a:rPr lang="de-AT" sz="1100">
                <a:solidFill>
                  <a:schemeClr val="accent1"/>
                </a:solidFill>
              </a:rPr>
              <a:t>Bankpartner</a:t>
            </a:r>
            <a:endParaRPr lang="de-AT" sz="110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8772CB5-5452-46C5-9C91-DB5E9D0EAC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8792" y="2239737"/>
            <a:ext cx="749438" cy="315196"/>
          </a:xfrm>
          <a:prstGeom prst="rect">
            <a:avLst/>
          </a:prstGeom>
        </p:spPr>
      </p:pic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59CF522-1084-42F9-BA81-F238F23DD3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159" y="2776587"/>
            <a:ext cx="1047337" cy="295559"/>
          </a:xfrm>
          <a:prstGeom prst="rect">
            <a:avLst/>
          </a:prstGeom>
        </p:spPr>
      </p:pic>
      <p:pic>
        <p:nvPicPr>
          <p:cNvPr id="9" name="Grafik 8" descr="Ein Bild, das Zeichnung, rot, Schild enthält.&#10;&#10;Automatisch generierte Beschreibung">
            <a:extLst>
              <a:ext uri="{FF2B5EF4-FFF2-40B4-BE49-F238E27FC236}">
                <a16:creationId xmlns:a16="http://schemas.microsoft.com/office/drawing/2014/main" id="{9700A2A6-B36F-4165-98B6-0A1B62606C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4279" y="1741883"/>
            <a:ext cx="802853" cy="2762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C82A69F-0E5A-4D48-9918-0BBE8C9B5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9560" y="1739652"/>
            <a:ext cx="959888" cy="276200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D18EA49D-60F8-4353-9EAC-D7D85CD53726}"/>
              </a:ext>
            </a:extLst>
          </p:cNvPr>
          <p:cNvSpPr txBox="1">
            <a:spLocks/>
          </p:cNvSpPr>
          <p:nvPr/>
        </p:nvSpPr>
        <p:spPr>
          <a:xfrm>
            <a:off x="863062" y="1253516"/>
            <a:ext cx="2623412" cy="191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  <a:defRPr lang="en-US" sz="1800" b="0" i="0" kern="1200" baseline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1pPr>
            <a:lvl2pPr marL="212677" indent="-212677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2pPr>
            <a:lvl3pPr marL="445292" indent="-21600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–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3pPr>
            <a:lvl4pPr marL="644677" indent="-186093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-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4pPr>
            <a:lvl5pPr marL="644677" indent="0" algn="l" defTabSz="844062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569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321169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32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26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100"/>
              <a:t>Unsere </a:t>
            </a:r>
            <a:r>
              <a:rPr lang="de-AT" sz="1100">
                <a:solidFill>
                  <a:schemeClr val="accent1"/>
                </a:solidFill>
              </a:rPr>
              <a:t>Versicherungspartner</a:t>
            </a:r>
            <a:endParaRPr lang="de-AT" sz="110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7F893E7-DFC2-4378-99DC-397BE6281F3A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22578" y="2800824"/>
            <a:ext cx="1167969" cy="286235"/>
          </a:xfrm>
          <a:prstGeom prst="rect">
            <a:avLst/>
          </a:prstGeom>
        </p:spPr>
      </p:pic>
      <p:sp>
        <p:nvSpPr>
          <p:cNvPr id="14" name="Flussdiagramm: Alternativer Prozess 13">
            <a:extLst>
              <a:ext uri="{FF2B5EF4-FFF2-40B4-BE49-F238E27FC236}">
                <a16:creationId xmlns:a16="http://schemas.microsoft.com/office/drawing/2014/main" id="{80AA6DBC-B8B4-434F-A7C5-60CF30803C2B}"/>
              </a:ext>
            </a:extLst>
          </p:cNvPr>
          <p:cNvSpPr/>
          <p:nvPr/>
        </p:nvSpPr>
        <p:spPr>
          <a:xfrm>
            <a:off x="7529752" y="1516926"/>
            <a:ext cx="2919599" cy="2099792"/>
          </a:xfrm>
          <a:prstGeom prst="flowChartAlternateProcess">
            <a:avLst/>
          </a:prstGeom>
          <a:noFill/>
          <a:ln w="9525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1200" b="0"/>
          </a:p>
        </p:txBody>
      </p:sp>
      <p:pic>
        <p:nvPicPr>
          <p:cNvPr id="21" name="Picture 4" descr="Bildergebnis für allianz">
            <a:extLst>
              <a:ext uri="{FF2B5EF4-FFF2-40B4-BE49-F238E27FC236}">
                <a16:creationId xmlns:a16="http://schemas.microsoft.com/office/drawing/2014/main" id="{2E57595F-8C4C-4241-8D16-83B7374950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7" t="29577" r="12785" b="33154"/>
          <a:stretch/>
        </p:blipFill>
        <p:spPr bwMode="auto">
          <a:xfrm>
            <a:off x="987867" y="1728006"/>
            <a:ext cx="1183271" cy="370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FCE04367-77D5-427F-B0E7-EDF01E964A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9594" y="2446933"/>
            <a:ext cx="1577579" cy="216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A2472B4-B66A-4B95-9D71-7BF2F55449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711" y="2947151"/>
            <a:ext cx="865511" cy="309351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01DCC29-EFD5-48A5-AB84-4C6EC253AD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51721" y="2911477"/>
            <a:ext cx="681851" cy="364342"/>
          </a:xfrm>
          <a:prstGeom prst="rect">
            <a:avLst/>
          </a:prstGeom>
        </p:spPr>
      </p:pic>
      <p:pic>
        <p:nvPicPr>
          <p:cNvPr id="25" name="Picture 26" descr="Bildergebnis fÃ¼r Ã¶bv logo">
            <a:extLst>
              <a:ext uri="{FF2B5EF4-FFF2-40B4-BE49-F238E27FC236}">
                <a16:creationId xmlns:a16="http://schemas.microsoft.com/office/drawing/2014/main" id="{3B8EF352-B4F9-4396-B15E-77EA5FBF6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459" y="2341841"/>
            <a:ext cx="672595" cy="34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4" descr="Bildergebnis fÃ¼r Merkur versicherung">
            <a:extLst>
              <a:ext uri="{FF2B5EF4-FFF2-40B4-BE49-F238E27FC236}">
                <a16:creationId xmlns:a16="http://schemas.microsoft.com/office/drawing/2014/main" id="{2DE7FB1F-9EE1-476D-A7F2-20632F8CF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715" y="2223268"/>
            <a:ext cx="737608" cy="46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Bildergebnis für zurich logo">
            <a:extLst>
              <a:ext uri="{FF2B5EF4-FFF2-40B4-BE49-F238E27FC236}">
                <a16:creationId xmlns:a16="http://schemas.microsoft.com/office/drawing/2014/main" id="{707408AB-6378-479E-9DF3-42E6EF889B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556" y="2800643"/>
            <a:ext cx="681852" cy="488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VAV Versicherungen – ivva">
            <a:extLst>
              <a:ext uri="{FF2B5EF4-FFF2-40B4-BE49-F238E27FC236}">
                <a16:creationId xmlns:a16="http://schemas.microsoft.com/office/drawing/2014/main" id="{C97ECF5B-F841-4F6A-9BDB-176FA33C2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788" y="3018223"/>
            <a:ext cx="672594" cy="334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Flussdiagramm: Alternativer Prozess 29">
            <a:extLst>
              <a:ext uri="{FF2B5EF4-FFF2-40B4-BE49-F238E27FC236}">
                <a16:creationId xmlns:a16="http://schemas.microsoft.com/office/drawing/2014/main" id="{0ED9E7C4-5CCF-44B0-8609-8E9E87985BF4}"/>
              </a:ext>
            </a:extLst>
          </p:cNvPr>
          <p:cNvSpPr/>
          <p:nvPr/>
        </p:nvSpPr>
        <p:spPr>
          <a:xfrm>
            <a:off x="852009" y="1515081"/>
            <a:ext cx="6268785" cy="2099792"/>
          </a:xfrm>
          <a:prstGeom prst="flowChartAlternateProcess">
            <a:avLst/>
          </a:prstGeom>
          <a:noFill/>
          <a:ln w="9525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1200" b="0"/>
          </a:p>
        </p:txBody>
      </p:sp>
      <p:pic>
        <p:nvPicPr>
          <p:cNvPr id="31" name="Picture 2">
            <a:extLst>
              <a:ext uri="{FF2B5EF4-FFF2-40B4-BE49-F238E27FC236}">
                <a16:creationId xmlns:a16="http://schemas.microsoft.com/office/drawing/2014/main" id="{8B96A60F-6DF1-4D6A-8A35-012DA6487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046" y="1786275"/>
            <a:ext cx="1190401" cy="29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Logo-Download | Downloads | Tiroler Versicherung">
            <a:extLst>
              <a:ext uri="{FF2B5EF4-FFF2-40B4-BE49-F238E27FC236}">
                <a16:creationId xmlns:a16="http://schemas.microsoft.com/office/drawing/2014/main" id="{64022549-CEF7-41F3-BDEE-1B8CA86BF6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693" y="2326115"/>
            <a:ext cx="831580" cy="3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Coya: Versicherung für Menschen, Haustiere und den Planeten ❤ Live more,  we've got you">
            <a:extLst>
              <a:ext uri="{FF2B5EF4-FFF2-40B4-BE49-F238E27FC236}">
                <a16:creationId xmlns:a16="http://schemas.microsoft.com/office/drawing/2014/main" id="{93858B78-CC37-4424-9057-A594862B14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3581" y="1850221"/>
            <a:ext cx="749971" cy="192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Fondsdepot Bank – Wikipedia">
            <a:extLst>
              <a:ext uri="{FF2B5EF4-FFF2-40B4-BE49-F238E27FC236}">
                <a16:creationId xmlns:a16="http://schemas.microsoft.com/office/drawing/2014/main" id="{91E6E2DE-A86B-4823-A12C-B8984A546D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057" y="2201623"/>
            <a:ext cx="938391" cy="314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32E85E8-2DA3-4F9A-97DB-D30FFB2E4864}"/>
              </a:ext>
            </a:extLst>
          </p:cNvPr>
          <p:cNvSpPr txBox="1">
            <a:spLocks/>
          </p:cNvSpPr>
          <p:nvPr/>
        </p:nvSpPr>
        <p:spPr>
          <a:xfrm>
            <a:off x="3248762" y="3839768"/>
            <a:ext cx="1927134" cy="1910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  <a:defRPr lang="en-US" sz="1800" b="0" i="0" kern="1200" baseline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1pPr>
            <a:lvl2pPr marL="212677" indent="-212677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2pPr>
            <a:lvl3pPr marL="445292" indent="-21600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–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3pPr>
            <a:lvl4pPr marL="644677" indent="-186093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-"/>
              <a:defRPr lang="en-US" sz="1800" b="0" kern="120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4pPr>
            <a:lvl5pPr marL="644677" indent="0" algn="l" defTabSz="844062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569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321169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32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26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100">
                <a:latin typeface="Intro Regular"/>
              </a:rPr>
              <a:t>Unsere </a:t>
            </a:r>
            <a:r>
              <a:rPr lang="de-AT" sz="1100">
                <a:solidFill>
                  <a:schemeClr val="accent1"/>
                </a:solidFill>
                <a:latin typeface="Intro Regular"/>
              </a:rPr>
              <a:t>Maklerpartner</a:t>
            </a:r>
            <a:endParaRPr lang="de-AT" sz="1100"/>
          </a:p>
        </p:txBody>
      </p:sp>
      <p:pic>
        <p:nvPicPr>
          <p:cNvPr id="45" name="Picture 2" descr="Uniqa Österreich – Wikipedia">
            <a:extLst>
              <a:ext uri="{FF2B5EF4-FFF2-40B4-BE49-F238E27FC236}">
                <a16:creationId xmlns:a16="http://schemas.microsoft.com/office/drawing/2014/main" id="{C2E8B494-57DE-4525-B253-A7F33F0A8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528" y="2852729"/>
            <a:ext cx="569638" cy="569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ALLVER">
            <a:extLst>
              <a:ext uri="{FF2B5EF4-FFF2-40B4-BE49-F238E27FC236}">
                <a16:creationId xmlns:a16="http://schemas.microsoft.com/office/drawing/2014/main" id="{E876D773-2A5A-4E8E-BBD1-89C3693144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8925" y="4321498"/>
            <a:ext cx="995328" cy="351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327B81D9-8BD0-43AE-B960-4BFDB76D6A3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469238" y="5462857"/>
            <a:ext cx="1305203" cy="307324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039C10D-73EC-4BCA-946E-2472C4E3C21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439602" y="6068991"/>
            <a:ext cx="1261860" cy="165676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6C2F8B21-B309-4DAF-81DC-50A64DD4028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866" y="5985815"/>
            <a:ext cx="1009302" cy="431997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0A5FD252-BB2D-460E-A957-E00FC5EE02C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865" y="5836684"/>
            <a:ext cx="589691" cy="547173"/>
          </a:xfrm>
          <a:prstGeom prst="rect">
            <a:avLst/>
          </a:prstGeom>
        </p:spPr>
      </p:pic>
      <p:sp>
        <p:nvSpPr>
          <p:cNvPr id="39" name="Flussdiagramm: Alternativer Prozess 38">
            <a:extLst>
              <a:ext uri="{FF2B5EF4-FFF2-40B4-BE49-F238E27FC236}">
                <a16:creationId xmlns:a16="http://schemas.microsoft.com/office/drawing/2014/main" id="{C696F50B-BE6F-4932-B412-51B88A12501A}"/>
              </a:ext>
            </a:extLst>
          </p:cNvPr>
          <p:cNvSpPr/>
          <p:nvPr/>
        </p:nvSpPr>
        <p:spPr>
          <a:xfrm>
            <a:off x="3078920" y="4087714"/>
            <a:ext cx="6568570" cy="2401054"/>
          </a:xfrm>
          <a:prstGeom prst="flowChartAlternateProcess">
            <a:avLst/>
          </a:prstGeom>
          <a:noFill/>
          <a:ln w="9525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endParaRPr lang="de-AT" sz="1200" b="0"/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13610644-05A8-4A3F-909D-846D7CE6EED8}"/>
              </a:ext>
            </a:extLst>
          </p:cNvPr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99425" y="6055090"/>
            <a:ext cx="1261860" cy="28659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BC28BD5E-49DA-49CE-9E87-D090B1B23FEC}"/>
              </a:ext>
            </a:extLst>
          </p:cNvPr>
          <p:cNvPicPr>
            <a:picLocks noChangeAspect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96872" y="6018198"/>
            <a:ext cx="842635" cy="337054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27F2C2BE-28A5-45FB-825C-637336773C74}"/>
              </a:ext>
            </a:extLst>
          </p:cNvPr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95077" y="4788600"/>
            <a:ext cx="1033464" cy="396000"/>
          </a:xfrm>
          <a:prstGeom prst="rect">
            <a:avLst/>
          </a:prstGeom>
        </p:spPr>
      </p:pic>
      <p:pic>
        <p:nvPicPr>
          <p:cNvPr id="57350" name="Picture 6" descr="Koban Südvers Group GmbH: Karrierechancen, Kontaktdaten, Fotos | karriere.at">
            <a:extLst>
              <a:ext uri="{FF2B5EF4-FFF2-40B4-BE49-F238E27FC236}">
                <a16:creationId xmlns:a16="http://schemas.microsoft.com/office/drawing/2014/main" id="{F9CC663C-BC40-4078-9713-9B1AEE1595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667" y="5397014"/>
            <a:ext cx="1101957" cy="340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54" name="Picture 10">
            <a:extLst>
              <a:ext uri="{FF2B5EF4-FFF2-40B4-BE49-F238E27FC236}">
                <a16:creationId xmlns:a16="http://schemas.microsoft.com/office/drawing/2014/main" id="{2A5CF3AA-2134-46A7-A02D-B1E86DAC4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9084" y="4901756"/>
            <a:ext cx="1190401" cy="18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OVB Holding – Wikipedia">
            <a:extLst>
              <a:ext uri="{FF2B5EF4-FFF2-40B4-BE49-F238E27FC236}">
                <a16:creationId xmlns:a16="http://schemas.microsoft.com/office/drawing/2014/main" id="{5DCC0301-FA24-47B2-A0C9-C685BB6465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026" y="5332874"/>
            <a:ext cx="436914" cy="50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EC3C5618-7F0D-4BB3-BC63-99770DB8E375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968080" y="5453582"/>
            <a:ext cx="1166575" cy="307324"/>
          </a:xfrm>
          <a:prstGeom prst="rect">
            <a:avLst/>
          </a:prstGeom>
          <a:solidFill>
            <a:srgbClr val="F18924"/>
          </a:solidFill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C9AB8482-37A7-40E5-9B2D-101B47CA7692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112956" y="4366339"/>
            <a:ext cx="1689313" cy="267475"/>
          </a:xfrm>
          <a:prstGeom prst="rect">
            <a:avLst/>
          </a:prstGeom>
        </p:spPr>
      </p:pic>
      <p:pic>
        <p:nvPicPr>
          <p:cNvPr id="48" name="Picture 6" descr="Bildergebnis für Logo durchblicker">
            <a:extLst>
              <a:ext uri="{FF2B5EF4-FFF2-40B4-BE49-F238E27FC236}">
                <a16:creationId xmlns:a16="http://schemas.microsoft.com/office/drawing/2014/main" id="{579F4234-C4C4-41E0-8A45-30A13618D7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634" y="4921312"/>
            <a:ext cx="1287668" cy="175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Bildergebnis für arge med">
            <a:extLst>
              <a:ext uri="{FF2B5EF4-FFF2-40B4-BE49-F238E27FC236}">
                <a16:creationId xmlns:a16="http://schemas.microsoft.com/office/drawing/2014/main" id="{2C2F5A3D-8C9E-4B5C-ADCC-3B6445848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633" y="4418933"/>
            <a:ext cx="1101957" cy="23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7CE20B51-5F65-4F33-8376-1E1BBC906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537" y="5490558"/>
            <a:ext cx="754191" cy="232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1D9661D4-4A38-4F84-80B5-151BC3DBA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080" y="4319713"/>
            <a:ext cx="1109086" cy="291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DBD75DD-C570-4289-93D3-6F10DDB6F98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466240" y="3215999"/>
            <a:ext cx="1046622" cy="272558"/>
          </a:xfrm>
          <a:prstGeom prst="rect">
            <a:avLst/>
          </a:prstGeom>
        </p:spPr>
      </p:pic>
      <p:pic>
        <p:nvPicPr>
          <p:cNvPr id="50" name="Grafik 5">
            <a:extLst>
              <a:ext uri="{FF2B5EF4-FFF2-40B4-BE49-F238E27FC236}">
                <a16:creationId xmlns:a16="http://schemas.microsoft.com/office/drawing/2014/main" id="{A9836269-C380-45D3-8B7D-DE11598E4306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529944" y="1744883"/>
            <a:ext cx="865511" cy="32232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1591762-4082-4A3E-9A65-08AD14243EE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760" y="4885525"/>
            <a:ext cx="1158939" cy="27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2181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588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2262ECD-EF78-406A-BD85-ACC7E97CC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0"/>
            <a:ext cx="10470758" cy="1066801"/>
          </a:xfrm>
        </p:spPr>
        <p:txBody>
          <a:bodyPr/>
          <a:lstStyle/>
          <a:p>
            <a:r>
              <a:rPr lang="de-DE" sz="2400">
                <a:latin typeface="+mn-lt"/>
              </a:rPr>
              <a:t>Ihr Partner für digitale Beratungslösungen für Banken und Versicherungen</a:t>
            </a:r>
            <a:endParaRPr lang="en-AU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F957F0AE-B874-4452-93B2-C425AF6BCE33}"/>
              </a:ext>
            </a:extLst>
          </p:cNvPr>
          <p:cNvSpPr txBox="1">
            <a:spLocks/>
          </p:cNvSpPr>
          <p:nvPr/>
        </p:nvSpPr>
        <p:spPr>
          <a:xfrm>
            <a:off x="360000" y="1431211"/>
            <a:ext cx="10639432" cy="3104214"/>
          </a:xfrm>
          <a:prstGeom prst="rect">
            <a:avLst/>
          </a:prstGeom>
        </p:spPr>
        <p:txBody>
          <a:bodyPr/>
          <a:lstStyle>
            <a:lvl1pPr marL="0" indent="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None/>
              <a:defRPr lang="en-US" sz="1800" b="0" i="0" kern="1200" baseline="0" dirty="0" smtClean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1pPr>
            <a:lvl2pPr marL="212677" indent="-212677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lang="en-US" sz="1800" b="0" kern="1200" dirty="0" smtClean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2pPr>
            <a:lvl3pPr marL="445292" indent="-216000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–"/>
              <a:defRPr lang="en-US" sz="1800" b="0" kern="1200" dirty="0" smtClean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3pPr>
            <a:lvl4pPr marL="644677" indent="-186093" algn="l" defTabSz="844062" rtl="0" eaLnBrk="1" latinLnBrk="0" hangingPunct="1">
              <a:lnSpc>
                <a:spcPct val="120000"/>
              </a:lnSpc>
              <a:spcBef>
                <a:spcPts val="0"/>
              </a:spcBef>
              <a:buFont typeface="Arial Narrow" pitchFamily="34" charset="0"/>
              <a:buChar char="-"/>
              <a:defRPr lang="en-US" sz="1800" b="0" kern="1200" dirty="0">
                <a:solidFill>
                  <a:schemeClr val="tx1"/>
                </a:solidFill>
                <a:latin typeface="Intro Regular" panose="02000000000000000000" pitchFamily="50" charset="0"/>
                <a:ea typeface="+mn-ea"/>
                <a:cs typeface="+mn-cs"/>
                <a:sym typeface="+mn-lt"/>
              </a:defRPr>
            </a:lvl4pPr>
            <a:lvl5pPr marL="644677" indent="0" algn="l" defTabSz="844062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569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321169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32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261" indent="-211016" algn="l" defTabSz="844062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184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indent="-285744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B2B Beratungs- und </a:t>
            </a:r>
            <a:r>
              <a:rPr lang="de-DE" sz="1600">
                <a:solidFill>
                  <a:srgbClr val="003F56"/>
                </a:solidFill>
                <a:latin typeface="Intro Regular"/>
              </a:rPr>
              <a:t>Vertriebssoftware („White Label“)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für die Finanzbranche </a:t>
            </a:r>
          </a:p>
          <a:p>
            <a:pPr marL="285744" indent="-285744">
              <a:lnSpc>
                <a:spcPct val="15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de-DE" sz="1600">
                <a:solidFill>
                  <a:srgbClr val="003F56"/>
                </a:solidFill>
                <a:latin typeface="Intro Regular"/>
              </a:rPr>
              <a:t>Unsere Lösungen: Leadgenerierung, Beratung &amp; Abschluss für alle Vertriebskanäle bis zum Chatbot</a:t>
            </a:r>
          </a:p>
          <a:p>
            <a:pPr marL="285744" marR="0" lvl="0" indent="-285744" algn="l" defTabSz="844062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Intelligenz durch maschinelle Lernalgorithmen &amp; Daten</a:t>
            </a:r>
          </a:p>
          <a:p>
            <a:pPr marL="285744" marR="0" lvl="0" indent="-285744" algn="l" defTabSz="844062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Unsere Partner: 35 Versicherungen, Banken und Makler </a:t>
            </a:r>
          </a:p>
          <a:p>
            <a:pPr marL="285744" marR="0" lvl="0" indent="-285744" algn="l" defTabSz="844062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Aktuelle Märkte:  AT, GER, CH, ESP, IT, ROU, FRA, HUN</a:t>
            </a:r>
          </a:p>
          <a:p>
            <a:pPr marL="285744" marR="0" lvl="0" indent="-285744" algn="l" defTabSz="844062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F56"/>
                </a:solidFill>
                <a:effectLst/>
                <a:uLnTx/>
                <a:uFillTx/>
                <a:latin typeface="Intro Regular"/>
                <a:ea typeface="+mn-ea"/>
                <a:cs typeface="+mn-cs"/>
                <a:sym typeface="+mn-lt"/>
              </a:rPr>
              <a:t>5,5 Millionen Beratungsgespräche laufen jährlich über unsere Partnerlösun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F4A1B59-24C5-44F1-8D47-4A69CAA6AE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0323" y="4998555"/>
            <a:ext cx="1292359" cy="1076702"/>
          </a:xfrm>
          <a:prstGeom prst="rect">
            <a:avLst/>
          </a:prstGeom>
        </p:spPr>
      </p:pic>
      <p:pic>
        <p:nvPicPr>
          <p:cNvPr id="10" name="Grafik 9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ED1F8B52-7186-4095-AFB5-24DC97227F4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126" y="5106905"/>
            <a:ext cx="1955034" cy="809860"/>
          </a:xfrm>
          <a:prstGeom prst="rect">
            <a:avLst/>
          </a:prstGeom>
        </p:spPr>
      </p:pic>
      <p:pic>
        <p:nvPicPr>
          <p:cNvPr id="11" name="Picture 2" descr="Zurich Innovation Championship: Zurich sucht Start-ups mit mutigen ...">
            <a:extLst>
              <a:ext uri="{FF2B5EF4-FFF2-40B4-BE49-F238E27FC236}">
                <a16:creationId xmlns:a16="http://schemas.microsoft.com/office/drawing/2014/main" id="{579D5E38-5994-411A-BF49-FB51B0ACA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960" y="5056763"/>
            <a:ext cx="1932138" cy="860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4C6C5BE7-B735-4552-8C91-6DB5C55A7654}"/>
              </a:ext>
            </a:extLst>
          </p:cNvPr>
          <p:cNvSpPr/>
          <p:nvPr/>
        </p:nvSpPr>
        <p:spPr>
          <a:xfrm>
            <a:off x="7574593" y="5221100"/>
            <a:ext cx="2981047" cy="35613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ctr"/>
            <a:r>
              <a:rPr lang="de-AT" sz="900" b="1" i="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Top European Union (EU) </a:t>
            </a:r>
            <a:r>
              <a:rPr lang="de-AT" sz="900" b="1" i="0" err="1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InsurTech</a:t>
            </a:r>
            <a:r>
              <a:rPr lang="de-AT" sz="900" b="1" i="0">
                <a:solidFill>
                  <a:schemeClr val="tx2"/>
                </a:solidFill>
                <a:effectLst/>
                <a:latin typeface="Segoe UI" panose="020B0502040204020203" pitchFamily="34" charset="0"/>
              </a:rPr>
              <a:t> Companies</a:t>
            </a:r>
          </a:p>
        </p:txBody>
      </p:sp>
      <p:pic>
        <p:nvPicPr>
          <p:cNvPr id="13" name="Picture 4" descr="Daily Finance">
            <a:extLst>
              <a:ext uri="{FF2B5EF4-FFF2-40B4-BE49-F238E27FC236}">
                <a16:creationId xmlns:a16="http://schemas.microsoft.com/office/drawing/2014/main" id="{5D760BAC-2C52-4987-8DC9-7810C4C53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1919" y="5499453"/>
            <a:ext cx="1918116" cy="276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8184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5B00641-5CE4-41F3-864B-9424A7948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-1"/>
            <a:ext cx="11276496" cy="1066801"/>
          </a:xfrm>
        </p:spPr>
        <p:txBody>
          <a:bodyPr anchor="ctr"/>
          <a:lstStyle/>
          <a:p>
            <a:r>
              <a:rPr lang="de-AT"/>
              <a:t>Im Kern unser Advisory Suite stehen die </a:t>
            </a:r>
            <a:r>
              <a:rPr lang="de-DE"/>
              <a:t>Kunden mit Ihren</a:t>
            </a:r>
            <a:r>
              <a:rPr lang="de-AT"/>
              <a:t> Risiken und Träumen und nicht Versicherungsprodukt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E881222-3B72-47AB-BF94-D4128004D89B}"/>
              </a:ext>
            </a:extLst>
          </p:cNvPr>
          <p:cNvSpPr/>
          <p:nvPr/>
        </p:nvSpPr>
        <p:spPr>
          <a:xfrm>
            <a:off x="8070556" y="2188375"/>
            <a:ext cx="3224973" cy="2782672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400"/>
              <a:t>Wir unterstützen Sie dabei, 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Font typeface="+mj-lt"/>
              <a:buAutoNum type="arabicPeriod"/>
            </a:pPr>
            <a:endParaRPr lang="de-AT" sz="1400"/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buFont typeface="+mj-lt"/>
              <a:buAutoNum type="arabicPeriod"/>
            </a:pPr>
            <a:r>
              <a:rPr lang="de-AT" sz="1400"/>
              <a:t>Ihren </a:t>
            </a:r>
            <a:r>
              <a:rPr lang="de-DE" sz="1400"/>
              <a:t>Kunden</a:t>
            </a:r>
            <a:r>
              <a:rPr lang="de-AT" sz="1400"/>
              <a:t> ihre </a:t>
            </a:r>
            <a:r>
              <a:rPr lang="de-AT" sz="1400">
                <a:solidFill>
                  <a:schemeClr val="accent5"/>
                </a:solidFill>
              </a:rPr>
              <a:t>objektiven Risiken </a:t>
            </a:r>
            <a:r>
              <a:rPr lang="de-AT" sz="1400"/>
              <a:t>aufzuzeigen</a:t>
            </a:r>
            <a:br>
              <a:rPr lang="de-AT" sz="1400"/>
            </a:br>
            <a:endParaRPr lang="de-AT" sz="1400">
              <a:solidFill>
                <a:schemeClr val="accent1"/>
              </a:solidFill>
            </a:endParaRPr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Font typeface="+mj-lt"/>
              <a:buAutoNum type="arabicPeriod"/>
            </a:pPr>
            <a:r>
              <a:rPr lang="de-AT" sz="1400"/>
              <a:t>die </a:t>
            </a:r>
            <a:r>
              <a:rPr lang="de-AT" sz="1400">
                <a:solidFill>
                  <a:schemeClr val="accent5"/>
                </a:solidFill>
              </a:rPr>
              <a:t>Risikopräferenzen</a:t>
            </a:r>
            <a:r>
              <a:rPr lang="de-AT" sz="1400">
                <a:solidFill>
                  <a:schemeClr val="accent1"/>
                </a:solidFill>
              </a:rPr>
              <a:t> </a:t>
            </a:r>
            <a:r>
              <a:rPr lang="de-AT" sz="1400"/>
              <a:t>Ihrer </a:t>
            </a:r>
            <a:r>
              <a:rPr lang="de-DE" sz="1400"/>
              <a:t>Kunden zu verstehen</a:t>
            </a:r>
            <a:br>
              <a:rPr lang="de-DE" sz="1400"/>
            </a:br>
            <a:endParaRPr lang="de-AT" sz="1400"/>
          </a:p>
          <a:p>
            <a:pPr marL="342900" indent="-342900" algn="l">
              <a:lnSpc>
                <a:spcPct val="90000"/>
              </a:lnSpc>
              <a:spcBef>
                <a:spcPts val="400"/>
              </a:spcBef>
              <a:buFont typeface="+mj-lt"/>
              <a:buAutoNum type="arabicPeriod"/>
            </a:pPr>
            <a:r>
              <a:rPr lang="de-AT" sz="1400"/>
              <a:t>Ihre Kunden zum Thema </a:t>
            </a:r>
            <a:r>
              <a:rPr lang="de-AT" sz="1400">
                <a:solidFill>
                  <a:schemeClr val="accent5"/>
                </a:solidFill>
              </a:rPr>
              <a:t>Wünsche &amp; Träume </a:t>
            </a:r>
            <a:r>
              <a:rPr lang="de-AT" sz="1400"/>
              <a:t>zu beraten</a:t>
            </a:r>
            <a:endParaRPr lang="de-AT" sz="1600" b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37EF328-EAE1-4D88-8F54-4E8A164D64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05" y="1066800"/>
            <a:ext cx="6502243" cy="5657867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64C3C4C-6827-4FC5-86E5-AB67936D1930}"/>
              </a:ext>
            </a:extLst>
          </p:cNvPr>
          <p:cNvSpPr/>
          <p:nvPr/>
        </p:nvSpPr>
        <p:spPr>
          <a:xfrm>
            <a:off x="7695701" y="5597322"/>
            <a:ext cx="4157587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400" b="0" i="1">
                <a:solidFill>
                  <a:schemeClr val="bg1"/>
                </a:solidFill>
              </a:rPr>
              <a:t>-&gt; </a:t>
            </a:r>
            <a:r>
              <a:rPr lang="de-AT" sz="1400" i="1">
                <a:solidFill>
                  <a:schemeClr val="bg1"/>
                </a:solidFill>
              </a:rPr>
              <a:t>Diese drei Algorithmen werden zuerst erläutert, dann konkrete Use Cases</a:t>
            </a:r>
            <a:endParaRPr lang="de-AT" sz="1400" b="0" i="1">
              <a:solidFill>
                <a:schemeClr val="bg1"/>
              </a:solidFill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1B25E1C-F085-477A-B33A-E84258D196E4}"/>
              </a:ext>
            </a:extLst>
          </p:cNvPr>
          <p:cNvSpPr/>
          <p:nvPr/>
        </p:nvSpPr>
        <p:spPr>
          <a:xfrm>
            <a:off x="1918679" y="6438934"/>
            <a:ext cx="3562626" cy="285733"/>
          </a:xfrm>
          <a:prstGeom prst="roundRect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200" b="0" i="1">
                <a:solidFill>
                  <a:schemeClr val="bg1"/>
                </a:solidFill>
              </a:rPr>
              <a:t>API </a:t>
            </a:r>
            <a:r>
              <a:rPr lang="de-AT" sz="1200" b="0" i="1" err="1">
                <a:solidFill>
                  <a:schemeClr val="bg1"/>
                </a:solidFill>
              </a:rPr>
              <a:t>based</a:t>
            </a:r>
            <a:r>
              <a:rPr lang="de-AT" sz="1200" b="0" i="1">
                <a:solidFill>
                  <a:schemeClr val="bg1"/>
                </a:solidFill>
              </a:rPr>
              <a:t> Advisor</a:t>
            </a:r>
            <a:r>
              <a:rPr lang="de-AT" sz="1200" i="1">
                <a:solidFill>
                  <a:schemeClr val="bg1"/>
                </a:solidFill>
              </a:rPr>
              <a:t>y Suite</a:t>
            </a:r>
            <a:endParaRPr lang="de-AT" sz="1200" b="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017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7BAE871-4C4F-47AF-83C1-9568753970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4902" y="1839474"/>
            <a:ext cx="4078126" cy="180000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15B00641-5CE4-41F3-864B-9424A7948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1310" y="-1"/>
            <a:ext cx="10021043" cy="1066801"/>
          </a:xfrm>
        </p:spPr>
        <p:txBody>
          <a:bodyPr anchor="ctr"/>
          <a:lstStyle/>
          <a:p>
            <a:r>
              <a:rPr lang="de-AT"/>
              <a:t>Risiken der </a:t>
            </a:r>
            <a:r>
              <a:rPr lang="de-DE" sz="2400"/>
              <a:t>Kunden</a:t>
            </a:r>
            <a:r>
              <a:rPr lang="de-AT"/>
              <a:t> werden mithilfe von Datenbanken &amp; -modellen errechnet &amp; visualisier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40A9300-DE03-4998-9377-8FA0B5DFB53E}"/>
              </a:ext>
            </a:extLst>
          </p:cNvPr>
          <p:cNvGrpSpPr/>
          <p:nvPr/>
        </p:nvGrpSpPr>
        <p:grpSpPr>
          <a:xfrm>
            <a:off x="1110526" y="4101487"/>
            <a:ext cx="2637606" cy="1638710"/>
            <a:chOff x="1145125" y="1992986"/>
            <a:chExt cx="2637606" cy="1638710"/>
          </a:xfrm>
        </p:grpSpPr>
        <p:sp>
          <p:nvSpPr>
            <p:cNvPr id="17" name="Rechteck: abgerundete Ecken 2">
              <a:extLst>
                <a:ext uri="{FF2B5EF4-FFF2-40B4-BE49-F238E27FC236}">
                  <a16:creationId xmlns:a16="http://schemas.microsoft.com/office/drawing/2014/main" id="{3C30C015-C2DA-4BC1-ADBF-0F7C5D1D7A5D}"/>
                </a:ext>
              </a:extLst>
            </p:cNvPr>
            <p:cNvSpPr/>
            <p:nvPr/>
          </p:nvSpPr>
          <p:spPr>
            <a:xfrm>
              <a:off x="1145125" y="1992986"/>
              <a:ext cx="2637606" cy="1638710"/>
            </a:xfrm>
            <a:prstGeom prst="roundRect">
              <a:avLst>
                <a:gd name="adj" fmla="val 4692"/>
              </a:avLst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de-AT" sz="1100" b="1">
                  <a:solidFill>
                    <a:schemeClr val="accent1"/>
                  </a:solidFill>
                </a:rPr>
                <a:t>Proprietäre Risikomodelle</a:t>
              </a:r>
            </a:p>
          </p:txBody>
        </p:sp>
        <p:pic>
          <p:nvPicPr>
            <p:cNvPr id="22" name="Grafik 6">
              <a:extLst>
                <a:ext uri="{FF2B5EF4-FFF2-40B4-BE49-F238E27FC236}">
                  <a16:creationId xmlns:a16="http://schemas.microsoft.com/office/drawing/2014/main" id="{5E46B40C-7DDE-48B6-8C4B-FA6A9D0D6F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V="1">
              <a:off x="1198972" y="2422166"/>
              <a:ext cx="2493596" cy="656794"/>
            </a:xfrm>
            <a:prstGeom prst="rect">
              <a:avLst/>
            </a:prstGeom>
          </p:spPr>
        </p:pic>
        <p:sp>
          <p:nvSpPr>
            <p:cNvPr id="25" name="Textfeld 5">
              <a:extLst>
                <a:ext uri="{FF2B5EF4-FFF2-40B4-BE49-F238E27FC236}">
                  <a16:creationId xmlns:a16="http://schemas.microsoft.com/office/drawing/2014/main" id="{A17B90FC-BEA3-4C52-9F31-55E581B18B10}"/>
                </a:ext>
              </a:extLst>
            </p:cNvPr>
            <p:cNvSpPr txBox="1"/>
            <p:nvPr/>
          </p:nvSpPr>
          <p:spPr>
            <a:xfrm>
              <a:off x="1396067" y="3363908"/>
              <a:ext cx="2177159" cy="16684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de-AT" sz="1200">
                  <a:cs typeface="Arial Narrow" pitchFamily="34" charset="0"/>
                </a:rPr>
                <a:t>Risikomodelle für 36 Risiken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BD952B9-E067-482F-ADA3-680CC60DBBAA}"/>
              </a:ext>
            </a:extLst>
          </p:cNvPr>
          <p:cNvGrpSpPr/>
          <p:nvPr/>
        </p:nvGrpSpPr>
        <p:grpSpPr>
          <a:xfrm>
            <a:off x="1110526" y="1897817"/>
            <a:ext cx="2637606" cy="1685493"/>
            <a:chOff x="775507" y="4253495"/>
            <a:chExt cx="2816354" cy="1799717"/>
          </a:xfrm>
        </p:grpSpPr>
        <p:sp>
          <p:nvSpPr>
            <p:cNvPr id="30" name="Rechteck: abgerundete Ecken 4">
              <a:extLst>
                <a:ext uri="{FF2B5EF4-FFF2-40B4-BE49-F238E27FC236}">
                  <a16:creationId xmlns:a16="http://schemas.microsoft.com/office/drawing/2014/main" id="{7385EC7A-D2C8-426C-B05E-0E80C27427B8}"/>
                </a:ext>
              </a:extLst>
            </p:cNvPr>
            <p:cNvSpPr/>
            <p:nvPr/>
          </p:nvSpPr>
          <p:spPr>
            <a:xfrm>
              <a:off x="775507" y="4253495"/>
              <a:ext cx="2816354" cy="1799717"/>
            </a:xfrm>
            <a:prstGeom prst="roundRect">
              <a:avLst>
                <a:gd name="adj" fmla="val 4692"/>
              </a:avLst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de-AT" sz="1100" b="1">
                  <a:solidFill>
                    <a:schemeClr val="accent1"/>
                  </a:solidFill>
                </a:rPr>
                <a:t>Hauptsächlich öffentliche Datenquellen</a:t>
              </a:r>
            </a:p>
          </p:txBody>
        </p:sp>
        <p:grpSp>
          <p:nvGrpSpPr>
            <p:cNvPr id="31" name="Gruppieren 6">
              <a:extLst>
                <a:ext uri="{FF2B5EF4-FFF2-40B4-BE49-F238E27FC236}">
                  <a16:creationId xmlns:a16="http://schemas.microsoft.com/office/drawing/2014/main" id="{AFD89B81-FA52-408C-BE37-9CE6F6912658}"/>
                </a:ext>
              </a:extLst>
            </p:cNvPr>
            <p:cNvGrpSpPr/>
            <p:nvPr/>
          </p:nvGrpSpPr>
          <p:grpSpPr>
            <a:xfrm>
              <a:off x="926389" y="4678371"/>
              <a:ext cx="2542358" cy="1272986"/>
              <a:chOff x="893981" y="2013067"/>
              <a:chExt cx="1992211" cy="918732"/>
            </a:xfrm>
          </p:grpSpPr>
          <p:pic>
            <p:nvPicPr>
              <p:cNvPr id="32" name="Picture 12" descr="Bildergebnis fÃ¼r NASA">
                <a:extLst>
                  <a:ext uri="{FF2B5EF4-FFF2-40B4-BE49-F238E27FC236}">
                    <a16:creationId xmlns:a16="http://schemas.microsoft.com/office/drawing/2014/main" id="{02A7D941-2A07-419E-847E-810BFB150CA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grayscl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8780" b="89756" l="9796" r="89796">
                            <a14:foregroundMark x1="35918" y1="50732" x2="35918" y2="50732"/>
                            <a14:foregroundMark x1="39184" y1="48780" x2="39184" y2="48780"/>
                            <a14:foregroundMark x1="43265" y1="53659" x2="43265" y2="53659"/>
                            <a14:foregroundMark x1="43265" y1="47317" x2="24898" y2="47317"/>
                            <a14:foregroundMark x1="20408" y1="60488" x2="33061" y2="53659"/>
                            <a14:foregroundMark x1="19592" y1="46341" x2="19592" y2="46341"/>
                            <a14:foregroundMark x1="24898" y1="52683" x2="24898" y2="52683"/>
                            <a14:foregroundMark x1="24082" y1="51707" x2="24082" y2="51707"/>
                            <a14:foregroundMark x1="21224" y1="47317" x2="21224" y2="47317"/>
                            <a14:foregroundMark x1="53469" y1="49756" x2="53469" y2="49756"/>
                            <a14:foregroundMark x1="55918" y1="49756" x2="55918" y2="49756"/>
                            <a14:foregroundMark x1="58367" y1="45366" x2="58367" y2="45366"/>
                            <a14:foregroundMark x1="55102" y1="42439" x2="55102" y2="42439"/>
                            <a14:foregroundMark x1="54286" y1="43415" x2="54286" y2="43415"/>
                            <a14:foregroundMark x1="57551" y1="51707" x2="57551" y2="51707"/>
                            <a14:foregroundMark x1="59592" y1="53659" x2="59592" y2="53659"/>
                            <a14:foregroundMark x1="68571" y1="48780" x2="68571" y2="48780"/>
                            <a14:foregroundMark x1="73061" y1="48780" x2="73061" y2="48780"/>
                            <a14:foregroundMark x1="73061" y1="52683" x2="73061" y2="52683"/>
                            <a14:foregroundMark x1="44082" y1="9268" x2="44082" y2="9268"/>
                            <a14:foregroundMark x1="45714" y1="89756" x2="45714" y2="89756"/>
                            <a14:foregroundMark x1="72245" y1="52683" x2="72245" y2="52683"/>
                            <a14:foregroundMark x1="71837" y1="52683" x2="71837" y2="52683"/>
                            <a14:foregroundMark x1="68571" y1="48780" x2="68571" y2="48780"/>
                            <a14:foregroundMark x1="71020" y1="51707" x2="72245" y2="55610"/>
                            <a14:foregroundMark x1="74694" y1="55610" x2="74694" y2="55610"/>
                            <a14:foregroundMark x1="73061" y1="50732" x2="73061" y2="50732"/>
                            <a14:foregroundMark x1="72245" y1="47317" x2="72245" y2="47317"/>
                            <a14:foregroundMark x1="70204" y1="44390" x2="69388" y2="43415"/>
                            <a14:foregroundMark x1="69388" y1="43415" x2="69388" y2="4341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86725" y="2339765"/>
                <a:ext cx="312600" cy="2615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2" descr="Bildergebnis fÃ¼r Eurostat logo">
                <a:extLst>
                  <a:ext uri="{FF2B5EF4-FFF2-40B4-BE49-F238E27FC236}">
                    <a16:creationId xmlns:a16="http://schemas.microsoft.com/office/drawing/2014/main" id="{B67C47C5-563C-4B53-98C4-38A4DF3280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grayscl/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9934" b="96689" l="4192" r="98503">
                            <a14:foregroundMark x1="58383" y1="80132" x2="58383" y2="80132"/>
                            <a14:foregroundMark x1="30240" y1="34437" x2="30240" y2="34437"/>
                            <a14:foregroundMark x1="36527" y1="34437" x2="36527" y2="34437"/>
                            <a14:foregroundMark x1="67665" y1="80132" x2="67665" y2="80132"/>
                            <a14:foregroundMark x1="64671" y1="64238" x2="64671" y2="64238"/>
                            <a14:foregroundMark x1="55988" y1="49669" x2="55988" y2="49669"/>
                            <a14:foregroundMark x1="40419" y1="48344" x2="40419" y2="48344"/>
                            <a14:foregroundMark x1="34731" y1="50331" x2="34731" y2="50331"/>
                            <a14:foregroundMark x1="17365" y1="53642" x2="17365" y2="53642"/>
                            <a14:foregroundMark x1="22156" y1="96689" x2="22156" y2="96689"/>
                            <a14:foregroundMark x1="5988" y1="89404" x2="5988" y2="89404"/>
                            <a14:foregroundMark x1="4192" y1="82119" x2="4192" y2="82119"/>
                            <a14:foregroundMark x1="75749" y1="60927" x2="75749" y2="60927"/>
                            <a14:foregroundMark x1="88922" y1="47682" x2="88922" y2="47682"/>
                            <a14:foregroundMark x1="64072" y1="64901" x2="64970" y2="64901"/>
                            <a14:foregroundMark x1="64970" y1="64901" x2="64970" y2="64901"/>
                            <a14:foregroundMark x1="64371" y1="63576" x2="64371" y2="63576"/>
                            <a14:foregroundMark x1="94910" y1="48344" x2="94910" y2="48344"/>
                            <a14:foregroundMark x1="72156" y1="20530" x2="72156" y2="20530"/>
                            <a14:foregroundMark x1="98503" y1="45033" x2="98503" y2="45033"/>
                            <a14:backgroundMark x1="37126" y1="33775" x2="37126" y2="33775"/>
                            <a14:backgroundMark x1="35629" y1="35099" x2="35629" y2="35099"/>
                            <a14:backgroundMark x1="36527" y1="35099" x2="36527" y2="35099"/>
                            <a14:backgroundMark x1="37126" y1="34437" x2="37126" y2="34437"/>
                            <a14:backgroundMark x1="36527" y1="32450" x2="36527" y2="32450"/>
                            <a14:backgroundMark x1="36826" y1="33775" x2="36826" y2="33775"/>
                            <a14:backgroundMark x1="36527" y1="33775" x2="36527" y2="33775"/>
                            <a14:backgroundMark x1="36527" y1="33775" x2="36527" y2="33775"/>
                            <a14:backgroundMark x1="30240" y1="35762" x2="31138" y2="35762"/>
                            <a14:backgroundMark x1="29341" y1="31788" x2="29940" y2="32450"/>
                            <a14:backgroundMark x1="30838" y1="35099" x2="30838" y2="35099"/>
                            <a14:backgroundMark x1="30539" y1="35099" x2="30539" y2="35099"/>
                            <a14:backgroundMark x1="30539" y1="32450" x2="30539" y2="32450"/>
                            <a14:backgroundMark x1="29940" y1="34437" x2="29940" y2="34437"/>
                            <a14:backgroundMark x1="31138" y1="32450" x2="31138" y2="32450"/>
                            <a14:backgroundMark x1="29940" y1="33113" x2="29940" y2="33113"/>
                            <a14:backgroundMark x1="30539" y1="33775" x2="30539" y2="33775"/>
                            <a14:backgroundMark x1="67066" y1="80795" x2="67066" y2="80795"/>
                            <a14:backgroundMark x1="68263" y1="79470" x2="68263" y2="79470"/>
                            <a14:backgroundMark x1="67964" y1="79470" x2="67964" y2="79470"/>
                            <a14:backgroundMark x1="67964" y1="79470" x2="67964" y2="79470"/>
                            <a14:backgroundMark x1="67964" y1="79470" x2="67964" y2="79470"/>
                            <a14:backgroundMark x1="67964" y1="81457" x2="67964" y2="81457"/>
                            <a14:backgroundMark x1="67964" y1="81457" x2="67964" y2="81457"/>
                            <a14:backgroundMark x1="67665" y1="82119" x2="67665" y2="82119"/>
                            <a14:backgroundMark x1="67665" y1="82119" x2="67665" y2="82119"/>
                            <a14:backgroundMark x1="58383" y1="79470" x2="58383" y2="79470"/>
                            <a14:backgroundMark x1="57485" y1="83444" x2="57485" y2="83444"/>
                            <a14:backgroundMark x1="58683" y1="82119" x2="58683" y2="82119"/>
                            <a14:backgroundMark x1="58683" y1="82119" x2="58683" y2="81457"/>
                            <a14:backgroundMark x1="58383" y1="81457" x2="58383" y2="81457"/>
                            <a14:backgroundMark x1="58383" y1="81457" x2="58383" y2="81457"/>
                            <a14:backgroundMark x1="58084" y1="80795" x2="58084" y2="80795"/>
                            <a14:backgroundMark x1="68563" y1="80795" x2="68563" y2="80795"/>
                            <a14:backgroundMark x1="67665" y1="80795" x2="67665" y2="8079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873" y="2393944"/>
                <a:ext cx="346104" cy="1564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6" descr="Bildergebnis fÃ¼r WHO">
                <a:extLst>
                  <a:ext uri="{FF2B5EF4-FFF2-40B4-BE49-F238E27FC236}">
                    <a16:creationId xmlns:a16="http://schemas.microsoft.com/office/drawing/2014/main" id="{7BA23825-A624-4E7A-B0F0-4B92E48F1E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3981" y="2059219"/>
                <a:ext cx="529102" cy="1692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14" descr="Bildergebnis fÃ¼r ESWD logo">
                <a:extLst>
                  <a:ext uri="{FF2B5EF4-FFF2-40B4-BE49-F238E27FC236}">
                    <a16:creationId xmlns:a16="http://schemas.microsoft.com/office/drawing/2014/main" id="{A8037BF3-1E06-4CED-A8E0-1534148061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810" t="40823" r="810" b="-17288"/>
              <a:stretch/>
            </p:blipFill>
            <p:spPr bwMode="auto">
              <a:xfrm>
                <a:off x="968325" y="2386515"/>
                <a:ext cx="407798" cy="2148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10" descr="Bildergebnis fÃ¼r NOAA">
                <a:extLst>
                  <a:ext uri="{FF2B5EF4-FFF2-40B4-BE49-F238E27FC236}">
                    <a16:creationId xmlns:a16="http://schemas.microsoft.com/office/drawing/2014/main" id="{726AE2D3-3898-4E65-B6E3-25A5009EE9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6373" y="2670236"/>
                <a:ext cx="261563" cy="2615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4" descr="Home">
                <a:extLst>
                  <a:ext uri="{FF2B5EF4-FFF2-40B4-BE49-F238E27FC236}">
                    <a16:creationId xmlns:a16="http://schemas.microsoft.com/office/drawing/2014/main" id="{F41E4F14-CCAA-46EA-8A80-96478FE77E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91787" y="2748772"/>
                <a:ext cx="496171" cy="1400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6" descr="Bildergebnis fÃ¼r OECD Logo">
                <a:extLst>
                  <a:ext uri="{FF2B5EF4-FFF2-40B4-BE49-F238E27FC236}">
                    <a16:creationId xmlns:a16="http://schemas.microsoft.com/office/drawing/2014/main" id="{9AB4B578-1FAC-49F7-875E-63D1CFD2178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V="1">
                <a:off x="1465274" y="2759701"/>
                <a:ext cx="507045" cy="1291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2" descr="Bildergebnis fÃ¼r UNODC">
                <a:extLst>
                  <a:ext uri="{FF2B5EF4-FFF2-40B4-BE49-F238E27FC236}">
                    <a16:creationId xmlns:a16="http://schemas.microsoft.com/office/drawing/2014/main" id="{2A41C73B-0553-4264-AB06-82A795523F8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85761" y="2039763"/>
                <a:ext cx="400431" cy="1856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4" descr="Bildergebnis fÃ¼r UN">
                <a:extLst>
                  <a:ext uri="{FF2B5EF4-FFF2-40B4-BE49-F238E27FC236}">
                    <a16:creationId xmlns:a16="http://schemas.microsoft.com/office/drawing/2014/main" id="{70BDD327-6D28-45D6-B138-2BABE11EE4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88016" y="2013067"/>
                <a:ext cx="261563" cy="2615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10" descr="Bildergebnis fÃ¼r Worldbank">
                <a:extLst>
                  <a:ext uri="{FF2B5EF4-FFF2-40B4-BE49-F238E27FC236}">
                    <a16:creationId xmlns:a16="http://schemas.microsoft.com/office/drawing/2014/main" id="{A9B9C698-3684-480F-86F3-19DBDD71FAE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2900" y="2062278"/>
                <a:ext cx="400432" cy="1631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Grafik 17">
                <a:extLst>
                  <a:ext uri="{FF2B5EF4-FFF2-40B4-BE49-F238E27FC236}">
                    <a16:creationId xmlns:a16="http://schemas.microsoft.com/office/drawing/2014/main" id="{058B5499-90A7-4945-A2D6-24FA75896C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grayscl/>
              </a:blip>
              <a:stretch>
                <a:fillRect/>
              </a:stretch>
            </p:blipFill>
            <p:spPr>
              <a:xfrm>
                <a:off x="1896547" y="2390676"/>
                <a:ext cx="346104" cy="159740"/>
              </a:xfrm>
              <a:prstGeom prst="rect">
                <a:avLst/>
              </a:prstGeom>
              <a:noFill/>
            </p:spPr>
          </p:pic>
          <p:sp>
            <p:nvSpPr>
              <p:cNvPr id="43" name="Textfeld 18">
                <a:extLst>
                  <a:ext uri="{FF2B5EF4-FFF2-40B4-BE49-F238E27FC236}">
                    <a16:creationId xmlns:a16="http://schemas.microsoft.com/office/drawing/2014/main" id="{D5DBE1DB-34B4-4EAE-AB9D-5079D4B72D17}"/>
                  </a:ext>
                </a:extLst>
              </p:cNvPr>
              <p:cNvSpPr txBox="1"/>
              <p:nvPr/>
            </p:nvSpPr>
            <p:spPr>
              <a:xfrm>
                <a:off x="2693554" y="2688646"/>
                <a:ext cx="107300" cy="160739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vert="horz" wrap="none" lIns="0" tIns="0" rIns="0" bIns="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400"/>
                  </a:spcBef>
                  <a:buClr>
                    <a:srgbClr val="000000"/>
                  </a:buClr>
                  <a:buSzPct val="100000"/>
                </a:pPr>
                <a:r>
                  <a:rPr lang="de-AT" sz="1500" b="0">
                    <a:solidFill>
                      <a:schemeClr val="bg1">
                        <a:lumMod val="50000"/>
                      </a:schemeClr>
                    </a:solidFill>
                    <a:latin typeface="+mn-lt"/>
                    <a:cs typeface="Arial Narrow" pitchFamily="34" charset="0"/>
                  </a:rPr>
                  <a:t>…</a:t>
                </a:r>
              </a:p>
            </p:txBody>
          </p:sp>
        </p:grpSp>
      </p:grpSp>
      <p:sp>
        <p:nvSpPr>
          <p:cNvPr id="48" name="Pfeil: nach rechts 20">
            <a:extLst>
              <a:ext uri="{FF2B5EF4-FFF2-40B4-BE49-F238E27FC236}">
                <a16:creationId xmlns:a16="http://schemas.microsoft.com/office/drawing/2014/main" id="{ECFA0E3C-7262-43F8-B03F-5ADB22728338}"/>
              </a:ext>
            </a:extLst>
          </p:cNvPr>
          <p:cNvSpPr/>
          <p:nvPr/>
        </p:nvSpPr>
        <p:spPr>
          <a:xfrm>
            <a:off x="4553603" y="3583310"/>
            <a:ext cx="771525" cy="569696"/>
          </a:xfrm>
          <a:prstGeom prst="rightArrow">
            <a:avLst/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sp>
        <p:nvSpPr>
          <p:cNvPr id="26" name="Rechteck 5">
            <a:extLst>
              <a:ext uri="{FF2B5EF4-FFF2-40B4-BE49-F238E27FC236}">
                <a16:creationId xmlns:a16="http://schemas.microsoft.com/office/drawing/2014/main" id="{20018CA6-376D-4FC2-89EE-4043DC7D275F}"/>
              </a:ext>
            </a:extLst>
          </p:cNvPr>
          <p:cNvSpPr/>
          <p:nvPr/>
        </p:nvSpPr>
        <p:spPr>
          <a:xfrm>
            <a:off x="1001648" y="3593298"/>
            <a:ext cx="2587113" cy="33067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AT" sz="1200">
                <a:solidFill>
                  <a:schemeClr val="accent1"/>
                </a:solidFill>
              </a:rPr>
              <a:t>Datenquellen für 36 Risiken</a:t>
            </a:r>
            <a:endParaRPr lang="de-AT" sz="1200" b="0">
              <a:solidFill>
                <a:schemeClr val="accent1"/>
              </a:solidFill>
            </a:endParaRPr>
          </a:p>
        </p:txBody>
      </p:sp>
      <p:sp>
        <p:nvSpPr>
          <p:cNvPr id="27" name="Rechteck 5">
            <a:extLst>
              <a:ext uri="{FF2B5EF4-FFF2-40B4-BE49-F238E27FC236}">
                <a16:creationId xmlns:a16="http://schemas.microsoft.com/office/drawing/2014/main" id="{72FAFDD5-20EA-47C6-A4C4-C2F6BB09ED70}"/>
              </a:ext>
            </a:extLst>
          </p:cNvPr>
          <p:cNvSpPr/>
          <p:nvPr/>
        </p:nvSpPr>
        <p:spPr>
          <a:xfrm>
            <a:off x="1001648" y="5920579"/>
            <a:ext cx="3308551" cy="6651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AT" sz="1200">
                <a:solidFill>
                  <a:schemeClr val="accent1"/>
                </a:solidFill>
              </a:rPr>
              <a:t>Risiken berechnen</a:t>
            </a:r>
          </a:p>
          <a:p>
            <a:pPr marL="171450" indent="-17145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AT" sz="1200">
                <a:solidFill>
                  <a:schemeClr val="accent1"/>
                </a:solidFill>
              </a:rPr>
              <a:t>Risiken vergleichbar machen für die </a:t>
            </a:r>
            <a:r>
              <a:rPr lang="de-DE" sz="1200">
                <a:solidFill>
                  <a:schemeClr val="accent1"/>
                </a:solidFill>
              </a:rPr>
              <a:t>KundInnen</a:t>
            </a:r>
            <a:endParaRPr lang="de-AT" sz="1200">
              <a:solidFill>
                <a:schemeClr val="accent1"/>
              </a:solidFill>
            </a:endParaRPr>
          </a:p>
        </p:txBody>
      </p:sp>
      <p:sp>
        <p:nvSpPr>
          <p:cNvPr id="29" name="Rechteck 5">
            <a:extLst>
              <a:ext uri="{FF2B5EF4-FFF2-40B4-BE49-F238E27FC236}">
                <a16:creationId xmlns:a16="http://schemas.microsoft.com/office/drawing/2014/main" id="{9F3DF0AF-0BD4-4478-962C-FBE5B214A01D}"/>
              </a:ext>
            </a:extLst>
          </p:cNvPr>
          <p:cNvSpPr/>
          <p:nvPr/>
        </p:nvSpPr>
        <p:spPr>
          <a:xfrm>
            <a:off x="7383751" y="6085916"/>
            <a:ext cx="3308551" cy="33067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de-AT" sz="1200" b="0">
                <a:solidFill>
                  <a:schemeClr val="accent1"/>
                </a:solidFill>
              </a:rPr>
              <a:t>Objektive Daten erwirken Vertrauen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3E81739D-CFE2-4AA7-82C5-342959C3E43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388664" y="3971471"/>
            <a:ext cx="3281590" cy="191620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4" name="Grafik 43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182099F7-2B2E-4927-8E48-F390F9299784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0" t="5530" r="2631"/>
          <a:stretch/>
        </p:blipFill>
        <p:spPr>
          <a:xfrm>
            <a:off x="9675181" y="3333029"/>
            <a:ext cx="2368569" cy="18544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5" name="Grafik 23">
            <a:extLst>
              <a:ext uri="{FF2B5EF4-FFF2-40B4-BE49-F238E27FC236}">
                <a16:creationId xmlns:a16="http://schemas.microsoft.com/office/drawing/2014/main" id="{B1D6FE0A-823D-4C5B-ADBF-51B7770465F5}"/>
              </a:ext>
            </a:extLst>
          </p:cNvPr>
          <p:cNvPicPr/>
          <p:nvPr/>
        </p:nvPicPr>
        <p:blipFill>
          <a:blip r:embed="rId20"/>
          <a:stretch>
            <a:fillRect/>
          </a:stretch>
        </p:blipFill>
        <p:spPr>
          <a:xfrm>
            <a:off x="6096000" y="2924583"/>
            <a:ext cx="3088160" cy="163871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2BBC6627-51EE-4EC4-9D39-2E13EB0C0D09}"/>
              </a:ext>
            </a:extLst>
          </p:cNvPr>
          <p:cNvSpPr/>
          <p:nvPr/>
        </p:nvSpPr>
        <p:spPr>
          <a:xfrm>
            <a:off x="89647" y="278378"/>
            <a:ext cx="1876425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500" i="1">
                <a:solidFill>
                  <a:schemeClr val="bg1"/>
                </a:solidFill>
              </a:rPr>
              <a:t>1. </a:t>
            </a:r>
            <a:r>
              <a:rPr lang="de-AT" sz="1500" b="0" i="1">
                <a:solidFill>
                  <a:schemeClr val="bg1"/>
                </a:solidFill>
              </a:rPr>
              <a:t>Algorithmen: Objekte Risken</a:t>
            </a:r>
          </a:p>
        </p:txBody>
      </p:sp>
    </p:spTree>
    <p:extLst>
      <p:ext uri="{BB962C8B-B14F-4D97-AF65-F5344CB8AC3E}">
        <p14:creationId xmlns:p14="http://schemas.microsoft.com/office/powerpoint/2010/main" val="3890735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9A1344-365D-4795-A7D0-ED750D994B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32004" y="1512573"/>
            <a:ext cx="5400000" cy="241861"/>
          </a:xfrm>
        </p:spPr>
        <p:txBody>
          <a:bodyPr/>
          <a:lstStyle/>
          <a:p>
            <a:r>
              <a:rPr lang="de-AT" sz="1400"/>
              <a:t>Abtesten der persönlichen Risikopräferenz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1F0E5-7371-42AA-A7AD-6EC3F55D84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0198" y="1516363"/>
            <a:ext cx="5400000" cy="241861"/>
          </a:xfrm>
        </p:spPr>
        <p:txBody>
          <a:bodyPr/>
          <a:lstStyle/>
          <a:p>
            <a:r>
              <a:rPr lang="de-AT" sz="1400"/>
              <a:t>Analyse von Einflussfaktoren (</a:t>
            </a:r>
            <a:r>
              <a:rPr lang="de-AT" sz="1400" err="1"/>
              <a:t>Social</a:t>
            </a:r>
            <a:r>
              <a:rPr lang="de-AT" sz="1400"/>
              <a:t> Media/Media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771E7E-4147-4191-A53D-D88AE3B62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499" y="0"/>
            <a:ext cx="8342713" cy="1066801"/>
          </a:xfrm>
        </p:spPr>
        <p:txBody>
          <a:bodyPr/>
          <a:lstStyle/>
          <a:p>
            <a:r>
              <a:rPr lang="de-AT"/>
              <a:t>S</a:t>
            </a:r>
            <a:r>
              <a:rPr lang="de-AT">
                <a:solidFill>
                  <a:schemeClr val="bg2"/>
                </a:solidFill>
              </a:rPr>
              <a:t>ubjektiven Risikopräferenzen werden über alle Risiken hinweg ermittelt</a:t>
            </a:r>
            <a:endParaRPr lang="de-AT"/>
          </a:p>
        </p:txBody>
      </p:sp>
      <p:pic>
        <p:nvPicPr>
          <p:cNvPr id="20" name="Picture 7">
            <a:extLst>
              <a:ext uri="{FF2B5EF4-FFF2-40B4-BE49-F238E27FC236}">
                <a16:creationId xmlns:a16="http://schemas.microsoft.com/office/drawing/2014/main" id="{5C24C678-652A-4EDD-A9D6-772E7E4275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562" y="1954891"/>
            <a:ext cx="4785779" cy="2708612"/>
          </a:xfrm>
          <a:prstGeom prst="rect">
            <a:avLst/>
          </a:prstGeom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hteck 5">
            <a:extLst>
              <a:ext uri="{FF2B5EF4-FFF2-40B4-BE49-F238E27FC236}">
                <a16:creationId xmlns:a16="http://schemas.microsoft.com/office/drawing/2014/main" id="{5E55A254-8A9E-4B4C-9439-40CFC880FD25}"/>
              </a:ext>
            </a:extLst>
          </p:cNvPr>
          <p:cNvSpPr/>
          <p:nvPr/>
        </p:nvSpPr>
        <p:spPr>
          <a:xfrm>
            <a:off x="296493" y="4792640"/>
            <a:ext cx="5047031" cy="184887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marL="171450" indent="-1714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 b="0">
                <a:solidFill>
                  <a:schemeClr val="accent1"/>
                </a:solidFill>
              </a:rPr>
              <a:t>Echtzeitdaten zu Risikoereignissen aus (sozialen) Medien in Echtzeit</a:t>
            </a:r>
          </a:p>
          <a:p>
            <a:pPr marL="171450" indent="-1714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>
                <a:solidFill>
                  <a:schemeClr val="accent1"/>
                </a:solidFill>
              </a:rPr>
              <a:t>2 Millionen Risikoereignisse</a:t>
            </a:r>
            <a:endParaRPr lang="de-AT" sz="1200" b="0">
              <a:solidFill>
                <a:schemeClr val="accent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AT" sz="1200">
                <a:solidFill>
                  <a:schemeClr val="accent1"/>
                </a:solidFill>
              </a:rPr>
              <a:t>N</a:t>
            </a:r>
            <a:r>
              <a:rPr lang="de-AT" sz="1200" b="0">
                <a:solidFill>
                  <a:schemeClr val="accent1"/>
                </a:solidFill>
              </a:rPr>
              <a:t>LU analysiert systematisch alle Texte und Engine geniert Sentiment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FB32F9F-E49B-433E-A6EE-B7F830AB84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527"/>
          <a:stretch/>
        </p:blipFill>
        <p:spPr>
          <a:xfrm>
            <a:off x="5855901" y="1954890"/>
            <a:ext cx="5715795" cy="2708613"/>
          </a:xfrm>
          <a:prstGeom prst="rect">
            <a:avLst/>
          </a:prstGeom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3215EB6E-B032-4BB1-AF08-340144A848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4353" y="3506828"/>
            <a:ext cx="4117343" cy="2313351"/>
          </a:xfrm>
          <a:prstGeom prst="rect">
            <a:avLst/>
          </a:prstGeom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9D7A7B07-9647-44A1-A9C8-438B2D55754A}"/>
              </a:ext>
            </a:extLst>
          </p:cNvPr>
          <p:cNvSpPr/>
          <p:nvPr/>
        </p:nvSpPr>
        <p:spPr>
          <a:xfrm>
            <a:off x="120580" y="285750"/>
            <a:ext cx="1876425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500" i="1">
                <a:solidFill>
                  <a:schemeClr val="bg1"/>
                </a:solidFill>
              </a:rPr>
              <a:t>2. </a:t>
            </a:r>
            <a:r>
              <a:rPr lang="de-AT" sz="1500" b="0" i="1">
                <a:solidFill>
                  <a:schemeClr val="bg1"/>
                </a:solidFill>
              </a:rPr>
              <a:t>Algorithmen: Risikopräferenzen</a:t>
            </a:r>
          </a:p>
        </p:txBody>
      </p:sp>
    </p:spTree>
    <p:extLst>
      <p:ext uri="{BB962C8B-B14F-4D97-AF65-F5344CB8AC3E}">
        <p14:creationId xmlns:p14="http://schemas.microsoft.com/office/powerpoint/2010/main" val="291769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5778C31-840E-444A-B983-88448754AA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511" y="4700614"/>
            <a:ext cx="1806171" cy="136800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6ACBC0A-7014-436C-9EA6-AB867F6518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0571" y="4695485"/>
            <a:ext cx="1877515" cy="11520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15B00641-5CE4-41F3-864B-9424A7948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451" y="-1"/>
            <a:ext cx="9604461" cy="1066801"/>
          </a:xfrm>
        </p:spPr>
        <p:txBody>
          <a:bodyPr anchor="ctr"/>
          <a:lstStyle/>
          <a:p>
            <a:r>
              <a:rPr lang="de-AT"/>
              <a:t>Starten mit Wünsche &amp; -träume, ganzheitlichen Lebenszyklusmodell inkl. Risiken </a:t>
            </a:r>
          </a:p>
        </p:txBody>
      </p:sp>
      <p:sp>
        <p:nvSpPr>
          <p:cNvPr id="17" name="Rechteck 3">
            <a:extLst>
              <a:ext uri="{FF2B5EF4-FFF2-40B4-BE49-F238E27FC236}">
                <a16:creationId xmlns:a16="http://schemas.microsoft.com/office/drawing/2014/main" id="{5D5BE062-8DA4-4BB0-8BBD-1F8CD0E498DB}"/>
              </a:ext>
            </a:extLst>
          </p:cNvPr>
          <p:cNvSpPr/>
          <p:nvPr/>
        </p:nvSpPr>
        <p:spPr>
          <a:xfrm>
            <a:off x="2553723" y="4313314"/>
            <a:ext cx="16203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Haushaltsbudget</a:t>
            </a:r>
          </a:p>
        </p:txBody>
      </p:sp>
      <p:pic>
        <p:nvPicPr>
          <p:cNvPr id="22" name="Grafik 4">
            <a:extLst>
              <a:ext uri="{FF2B5EF4-FFF2-40B4-BE49-F238E27FC236}">
                <a16:creationId xmlns:a16="http://schemas.microsoft.com/office/drawing/2014/main" id="{2809E828-AEAD-46B6-9882-EFD11CFC37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187" y="4684448"/>
            <a:ext cx="1457210" cy="159599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25" name="Grafik 5">
            <a:extLst>
              <a:ext uri="{FF2B5EF4-FFF2-40B4-BE49-F238E27FC236}">
                <a16:creationId xmlns:a16="http://schemas.microsoft.com/office/drawing/2014/main" id="{FC5E10E1-F4F4-4B0E-93EA-511A58A8D0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93294" y="4684448"/>
            <a:ext cx="1620380" cy="1508354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28" name="Rechteck 8">
            <a:extLst>
              <a:ext uri="{FF2B5EF4-FFF2-40B4-BE49-F238E27FC236}">
                <a16:creationId xmlns:a16="http://schemas.microsoft.com/office/drawing/2014/main" id="{E07EAF93-F260-4FC4-A42E-A65C608628E9}"/>
              </a:ext>
            </a:extLst>
          </p:cNvPr>
          <p:cNvSpPr/>
          <p:nvPr/>
        </p:nvSpPr>
        <p:spPr>
          <a:xfrm>
            <a:off x="5214513" y="4322130"/>
            <a:ext cx="13322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Lebensrisiken</a:t>
            </a:r>
          </a:p>
        </p:txBody>
      </p:sp>
      <p:sp>
        <p:nvSpPr>
          <p:cNvPr id="31" name="Rechteck 11">
            <a:extLst>
              <a:ext uri="{FF2B5EF4-FFF2-40B4-BE49-F238E27FC236}">
                <a16:creationId xmlns:a16="http://schemas.microsoft.com/office/drawing/2014/main" id="{327E379B-6864-44C9-9E3A-5D0A665ACCEB}"/>
              </a:ext>
            </a:extLst>
          </p:cNvPr>
          <p:cNvSpPr/>
          <p:nvPr/>
        </p:nvSpPr>
        <p:spPr>
          <a:xfrm>
            <a:off x="7482178" y="4322130"/>
            <a:ext cx="21152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AT" sz="1400">
                <a:solidFill>
                  <a:schemeClr val="accent1"/>
                </a:solidFill>
              </a:rPr>
              <a:t>Risikoprofil inkl. ESG</a:t>
            </a:r>
          </a:p>
        </p:txBody>
      </p:sp>
      <p:sp>
        <p:nvSpPr>
          <p:cNvPr id="32" name="Rechteck 12">
            <a:extLst>
              <a:ext uri="{FF2B5EF4-FFF2-40B4-BE49-F238E27FC236}">
                <a16:creationId xmlns:a16="http://schemas.microsoft.com/office/drawing/2014/main" id="{620BAD9E-B054-4D33-9713-AB1B06FF1E29}"/>
              </a:ext>
            </a:extLst>
          </p:cNvPr>
          <p:cNvSpPr/>
          <p:nvPr/>
        </p:nvSpPr>
        <p:spPr>
          <a:xfrm>
            <a:off x="462440" y="4322130"/>
            <a:ext cx="187070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Vermögen &amp; Kredite</a:t>
            </a:r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119F655F-40A1-4028-823D-D3FDDC8FD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1" t="23788" r="11910" b="15378"/>
          <a:stretch/>
        </p:blipFill>
        <p:spPr bwMode="auto">
          <a:xfrm>
            <a:off x="4759549" y="1623504"/>
            <a:ext cx="2354570" cy="128348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>
            <a:extLst>
              <a:ext uri="{FF2B5EF4-FFF2-40B4-BE49-F238E27FC236}">
                <a16:creationId xmlns:a16="http://schemas.microsoft.com/office/drawing/2014/main" id="{F4E32350-243E-436B-9000-5D0F351394E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507" t="7499" r="7851" b="32624"/>
          <a:stretch/>
        </p:blipFill>
        <p:spPr>
          <a:xfrm>
            <a:off x="5031341" y="5019291"/>
            <a:ext cx="2191929" cy="119619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38" name="Rechteck 12">
            <a:extLst>
              <a:ext uri="{FF2B5EF4-FFF2-40B4-BE49-F238E27FC236}">
                <a16:creationId xmlns:a16="http://schemas.microsoft.com/office/drawing/2014/main" id="{8E5676BF-3404-4F11-8E1C-6D68EC5E777B}"/>
              </a:ext>
            </a:extLst>
          </p:cNvPr>
          <p:cNvSpPr/>
          <p:nvPr/>
        </p:nvSpPr>
        <p:spPr>
          <a:xfrm>
            <a:off x="10187768" y="4322130"/>
            <a:ext cx="15281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Portfolio Planer</a:t>
            </a:r>
          </a:p>
        </p:txBody>
      </p:sp>
      <p:pic>
        <p:nvPicPr>
          <p:cNvPr id="40" name="Grafik 2">
            <a:extLst>
              <a:ext uri="{FF2B5EF4-FFF2-40B4-BE49-F238E27FC236}">
                <a16:creationId xmlns:a16="http://schemas.microsoft.com/office/drawing/2014/main" id="{2068DBC3-0B1D-4E88-89D4-5CE61FB6AB4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053"/>
          <a:stretch/>
        </p:blipFill>
        <p:spPr>
          <a:xfrm>
            <a:off x="5564400" y="3247846"/>
            <a:ext cx="600786" cy="554885"/>
          </a:xfrm>
          <a:prstGeom prst="rect">
            <a:avLst/>
          </a:prstGeom>
          <a:ln>
            <a:noFill/>
          </a:ln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DEB13FE-AD78-47AA-A8BE-4F37883A8691}"/>
              </a:ext>
            </a:extLst>
          </p:cNvPr>
          <p:cNvCxnSpPr>
            <a:cxnSpLocks/>
          </p:cNvCxnSpPr>
          <p:nvPr/>
        </p:nvCxnSpPr>
        <p:spPr>
          <a:xfrm flipH="1">
            <a:off x="2059075" y="3662438"/>
            <a:ext cx="3505325" cy="643663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A0CBBC3-DE92-489B-A45E-113A592783E5}"/>
              </a:ext>
            </a:extLst>
          </p:cNvPr>
          <p:cNvCxnSpPr>
            <a:cxnSpLocks/>
          </p:cNvCxnSpPr>
          <p:nvPr/>
        </p:nvCxnSpPr>
        <p:spPr>
          <a:xfrm flipH="1">
            <a:off x="3678343" y="3794703"/>
            <a:ext cx="1913017" cy="442144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4420AAB-0FBD-4DDD-B185-738DA11EE78A}"/>
              </a:ext>
            </a:extLst>
          </p:cNvPr>
          <p:cNvCxnSpPr>
            <a:cxnSpLocks/>
          </p:cNvCxnSpPr>
          <p:nvPr/>
        </p:nvCxnSpPr>
        <p:spPr>
          <a:xfrm>
            <a:off x="5870220" y="3877344"/>
            <a:ext cx="0" cy="339979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C175AB8-182B-423C-A1C2-F736EFD742CF}"/>
              </a:ext>
            </a:extLst>
          </p:cNvPr>
          <p:cNvCxnSpPr>
            <a:cxnSpLocks/>
          </p:cNvCxnSpPr>
          <p:nvPr/>
        </p:nvCxnSpPr>
        <p:spPr>
          <a:xfrm>
            <a:off x="6165186" y="3801170"/>
            <a:ext cx="2005415" cy="440892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53E1DC0-A2E9-45F9-AD60-395CCD47B0E3}"/>
              </a:ext>
            </a:extLst>
          </p:cNvPr>
          <p:cNvCxnSpPr>
            <a:cxnSpLocks/>
          </p:cNvCxnSpPr>
          <p:nvPr/>
        </p:nvCxnSpPr>
        <p:spPr>
          <a:xfrm>
            <a:off x="7011635" y="3794703"/>
            <a:ext cx="3727892" cy="437069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CE8256B-55D9-4E98-8678-CE8626F3B565}"/>
              </a:ext>
            </a:extLst>
          </p:cNvPr>
          <p:cNvCxnSpPr>
            <a:cxnSpLocks/>
          </p:cNvCxnSpPr>
          <p:nvPr/>
        </p:nvCxnSpPr>
        <p:spPr>
          <a:xfrm flipV="1">
            <a:off x="5902383" y="2985909"/>
            <a:ext cx="0" cy="224921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chteck 7">
            <a:extLst>
              <a:ext uri="{FF2B5EF4-FFF2-40B4-BE49-F238E27FC236}">
                <a16:creationId xmlns:a16="http://schemas.microsoft.com/office/drawing/2014/main" id="{CB4A1835-2DDF-4089-B646-69462E642173}"/>
              </a:ext>
            </a:extLst>
          </p:cNvPr>
          <p:cNvSpPr/>
          <p:nvPr/>
        </p:nvSpPr>
        <p:spPr>
          <a:xfrm>
            <a:off x="4759549" y="1304469"/>
            <a:ext cx="23545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AT" sz="1400"/>
              <a:t>Wünsche &amp; Träume</a:t>
            </a:r>
          </a:p>
        </p:txBody>
      </p:sp>
      <p:cxnSp>
        <p:nvCxnSpPr>
          <p:cNvPr id="27" name="Straight Connector 40">
            <a:extLst>
              <a:ext uri="{FF2B5EF4-FFF2-40B4-BE49-F238E27FC236}">
                <a16:creationId xmlns:a16="http://schemas.microsoft.com/office/drawing/2014/main" id="{3A4B4F96-4BAC-4E55-87CD-3011015F7CE6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2357457" y="3377286"/>
            <a:ext cx="3206943" cy="148003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5">
            <a:extLst>
              <a:ext uri="{FF2B5EF4-FFF2-40B4-BE49-F238E27FC236}">
                <a16:creationId xmlns:a16="http://schemas.microsoft.com/office/drawing/2014/main" id="{B6BE040C-C905-40B3-BFDE-4FE212052C54}"/>
              </a:ext>
            </a:extLst>
          </p:cNvPr>
          <p:cNvSpPr/>
          <p:nvPr/>
        </p:nvSpPr>
        <p:spPr>
          <a:xfrm>
            <a:off x="417319" y="2365102"/>
            <a:ext cx="14516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>
                <a:solidFill>
                  <a:schemeClr val="accent1"/>
                </a:solidFill>
              </a:rPr>
              <a:t>Rentenrechner</a:t>
            </a:r>
          </a:p>
        </p:txBody>
      </p:sp>
      <p:sp>
        <p:nvSpPr>
          <p:cNvPr id="37" name="Rectangle 47">
            <a:extLst>
              <a:ext uri="{FF2B5EF4-FFF2-40B4-BE49-F238E27FC236}">
                <a16:creationId xmlns:a16="http://schemas.microsoft.com/office/drawing/2014/main" id="{7CE78A1B-16D9-4217-A594-1F5901E0E73C}"/>
              </a:ext>
            </a:extLst>
          </p:cNvPr>
          <p:cNvSpPr/>
          <p:nvPr/>
        </p:nvSpPr>
        <p:spPr>
          <a:xfrm>
            <a:off x="9339083" y="2103009"/>
            <a:ext cx="17560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Diverse Spar- und </a:t>
            </a:r>
            <a:br>
              <a:rPr lang="de-AT" sz="1400">
                <a:solidFill>
                  <a:schemeClr val="accent1"/>
                </a:solidFill>
              </a:rPr>
            </a:br>
            <a:r>
              <a:rPr lang="de-AT" sz="1400">
                <a:solidFill>
                  <a:schemeClr val="accent1"/>
                </a:solidFill>
              </a:rPr>
              <a:t>Vorsorgerechner</a:t>
            </a:r>
            <a:endParaRPr lang="en-GB" sz="1400">
              <a:solidFill>
                <a:schemeClr val="accent1"/>
              </a:solidFill>
            </a:endParaRPr>
          </a:p>
        </p:txBody>
      </p:sp>
      <p:cxnSp>
        <p:nvCxnSpPr>
          <p:cNvPr id="48" name="Straight Connector 48">
            <a:extLst>
              <a:ext uri="{FF2B5EF4-FFF2-40B4-BE49-F238E27FC236}">
                <a16:creationId xmlns:a16="http://schemas.microsoft.com/office/drawing/2014/main" id="{F810D8DD-6069-4894-AB9E-248E996C7262}"/>
              </a:ext>
            </a:extLst>
          </p:cNvPr>
          <p:cNvCxnSpPr>
            <a:cxnSpLocks/>
            <a:stCxn id="40" idx="3"/>
          </p:cNvCxnSpPr>
          <p:nvPr/>
        </p:nvCxnSpPr>
        <p:spPr>
          <a:xfrm flipV="1">
            <a:off x="6165186" y="3281771"/>
            <a:ext cx="3101361" cy="243518"/>
          </a:xfrm>
          <a:prstGeom prst="line">
            <a:avLst/>
          </a:prstGeom>
          <a:ln>
            <a:headEnd type="none" w="lg" len="lg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Rechteck: abgerundete Ecken 50">
            <a:extLst>
              <a:ext uri="{FF2B5EF4-FFF2-40B4-BE49-F238E27FC236}">
                <a16:creationId xmlns:a16="http://schemas.microsoft.com/office/drawing/2014/main" id="{A2696386-94F5-43C7-8BC2-B565E62F6BAC}"/>
              </a:ext>
            </a:extLst>
          </p:cNvPr>
          <p:cNvSpPr/>
          <p:nvPr/>
        </p:nvSpPr>
        <p:spPr>
          <a:xfrm>
            <a:off x="77416" y="285749"/>
            <a:ext cx="1876425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500" i="1">
                <a:solidFill>
                  <a:schemeClr val="bg1"/>
                </a:solidFill>
              </a:rPr>
              <a:t>3. </a:t>
            </a:r>
            <a:r>
              <a:rPr lang="de-AT" sz="1500" b="0" i="1">
                <a:solidFill>
                  <a:schemeClr val="bg1"/>
                </a:solidFill>
              </a:rPr>
              <a:t>Algorithmen: Finanzpla</a:t>
            </a:r>
            <a:r>
              <a:rPr lang="de-AT" sz="1500" i="1">
                <a:solidFill>
                  <a:schemeClr val="bg1"/>
                </a:solidFill>
              </a:rPr>
              <a:t>nung</a:t>
            </a:r>
            <a:endParaRPr lang="de-AT" sz="1500" b="0" i="1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C904B68-B484-43B7-BBFF-594D8BA40A08}"/>
              </a:ext>
            </a:extLst>
          </p:cNvPr>
          <p:cNvSpPr txBox="1"/>
          <p:nvPr/>
        </p:nvSpPr>
        <p:spPr>
          <a:xfrm>
            <a:off x="6249580" y="3349709"/>
            <a:ext cx="977832" cy="4449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de-AT" sz="3200" b="1">
                <a:latin typeface="+mj-lt"/>
                <a:cs typeface="Arial Narrow" pitchFamily="34" charset="0"/>
              </a:rPr>
              <a:t>ALIS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72FA7D42-7037-4992-90EF-A27DCE05A17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2440" y="2680224"/>
            <a:ext cx="1786711" cy="139822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D4E90893-8062-4FF2-A6B6-177975EF05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14499" y="2628652"/>
            <a:ext cx="2204545" cy="129010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7F5BAA4C-C5E7-423D-ABF1-DAF3BCDE1AF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309" y="4697006"/>
            <a:ext cx="1969305" cy="182887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3313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365C04-D839-4636-BCBD-0ED307038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0"/>
            <a:ext cx="11308126" cy="1066801"/>
          </a:xfrm>
        </p:spPr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Effiziente Entwicklung von schönen individuellen Lösungen durch den Einsatz von API Baukasten</a:t>
            </a:r>
            <a:endParaRPr lang="de-AT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0E1CAB3-EE90-45B8-AF43-275F99026D88}"/>
              </a:ext>
            </a:extLst>
          </p:cNvPr>
          <p:cNvSpPr/>
          <p:nvPr/>
        </p:nvSpPr>
        <p:spPr>
          <a:xfrm>
            <a:off x="10504372" y="4659925"/>
            <a:ext cx="271129" cy="106165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de-AT" sz="150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F981CAB-6BE7-4308-A100-1166B8FB4FE6}"/>
              </a:ext>
            </a:extLst>
          </p:cNvPr>
          <p:cNvSpPr/>
          <p:nvPr/>
        </p:nvSpPr>
        <p:spPr>
          <a:xfrm>
            <a:off x="8899220" y="4052069"/>
            <a:ext cx="2238998" cy="45489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200" b="0">
                <a:solidFill>
                  <a:schemeClr val="accent1"/>
                </a:solidFill>
              </a:rPr>
              <a:t>Implementierungsdauer: </a:t>
            </a:r>
            <a:br>
              <a:rPr lang="de-AT" sz="1200" b="0">
                <a:solidFill>
                  <a:schemeClr val="accent1"/>
                </a:solidFill>
              </a:rPr>
            </a:br>
            <a:r>
              <a:rPr lang="de-AT" sz="1200">
                <a:solidFill>
                  <a:schemeClr val="accent1"/>
                </a:solidFill>
              </a:rPr>
              <a:t>3-5 Monate</a:t>
            </a:r>
            <a:endParaRPr lang="de-AT" sz="1200" b="0">
              <a:solidFill>
                <a:schemeClr val="accent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EBB67EC-EAF2-4C0D-9222-AC9CCB6E965E}"/>
              </a:ext>
            </a:extLst>
          </p:cNvPr>
          <p:cNvSpPr/>
          <p:nvPr/>
        </p:nvSpPr>
        <p:spPr>
          <a:xfrm>
            <a:off x="6072712" y="1360122"/>
            <a:ext cx="2238998" cy="43528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de-AT" sz="1200" b="0">
                <a:solidFill>
                  <a:schemeClr val="accent1"/>
                </a:solidFill>
              </a:rPr>
              <a:t>„Tolles UX&amp;CX</a:t>
            </a:r>
            <a:br>
              <a:rPr lang="de-AT" sz="1200" b="0">
                <a:solidFill>
                  <a:schemeClr val="accent1"/>
                </a:solidFill>
              </a:rPr>
            </a:br>
            <a:r>
              <a:rPr lang="de-AT" sz="1200" b="0">
                <a:solidFill>
                  <a:schemeClr val="accent1"/>
                </a:solidFill>
              </a:rPr>
              <a:t>-&gt; Schöne Lösungen“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9072D79-712D-4EE9-B036-C7E17A8F3F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486" t="7500" r="16996" b="4028"/>
          <a:stretch/>
        </p:blipFill>
        <p:spPr>
          <a:xfrm>
            <a:off x="6227910" y="1901120"/>
            <a:ext cx="2265736" cy="230554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7DE95AC4-3AEB-40DA-A6B2-AE44A7D51092}"/>
              </a:ext>
            </a:extLst>
          </p:cNvPr>
          <p:cNvGrpSpPr/>
          <p:nvPr/>
        </p:nvGrpSpPr>
        <p:grpSpPr>
          <a:xfrm>
            <a:off x="6433108" y="4462190"/>
            <a:ext cx="1518206" cy="2071375"/>
            <a:chOff x="10136514" y="3766920"/>
            <a:chExt cx="1705362" cy="2389208"/>
          </a:xfrm>
        </p:grpSpPr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985251ED-44FF-46C9-9C5A-E6EDEBA7EF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114" t="616" r="1788" b="-1"/>
            <a:stretch/>
          </p:blipFill>
          <p:spPr>
            <a:xfrm>
              <a:off x="10136514" y="3766920"/>
              <a:ext cx="1705362" cy="2389208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127000" algn="ctr" rotWithShape="0">
                <a:srgbClr val="000000">
                  <a:alpha val="20000"/>
                </a:srgbClr>
              </a:outerShdw>
            </a:effectLst>
          </p:spPr>
        </p:pic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CE971C0B-657E-4A8A-87F6-694D6C6A9B32}"/>
                </a:ext>
              </a:extLst>
            </p:cNvPr>
            <p:cNvSpPr/>
            <p:nvPr/>
          </p:nvSpPr>
          <p:spPr>
            <a:xfrm>
              <a:off x="10179050" y="3785750"/>
              <a:ext cx="479425" cy="190848"/>
            </a:xfrm>
            <a:prstGeom prst="rect">
              <a:avLst/>
            </a:prstGeom>
            <a:solidFill>
              <a:srgbClr val="D51130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</p:grpSp>
      <p:pic>
        <p:nvPicPr>
          <p:cNvPr id="19" name="Grafik 18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79A46302-E059-4E40-8BFE-BCC2D3D2C36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0" t="5530" r="2631"/>
          <a:stretch/>
        </p:blipFill>
        <p:spPr>
          <a:xfrm>
            <a:off x="8842177" y="4627424"/>
            <a:ext cx="2437832" cy="190866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20" name="Pfeil: nach rechts 19">
            <a:extLst>
              <a:ext uri="{FF2B5EF4-FFF2-40B4-BE49-F238E27FC236}">
                <a16:creationId xmlns:a16="http://schemas.microsoft.com/office/drawing/2014/main" id="{84C47939-A7C7-4AB7-97C9-BBD8F8221E7B}"/>
              </a:ext>
            </a:extLst>
          </p:cNvPr>
          <p:cNvSpPr/>
          <p:nvPr/>
        </p:nvSpPr>
        <p:spPr>
          <a:xfrm>
            <a:off x="5175044" y="3564457"/>
            <a:ext cx="626324" cy="869194"/>
          </a:xfrm>
          <a:prstGeom prst="rightArrow">
            <a:avLst>
              <a:gd name="adj1" fmla="val 50000"/>
              <a:gd name="adj2" fmla="val 61526"/>
            </a:avLst>
          </a:prstGeom>
          <a:solidFill>
            <a:schemeClr val="accent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endParaRPr lang="de-AT" sz="150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2B505C8-712B-4C9F-B8AF-64768DF8F9E8}"/>
              </a:ext>
            </a:extLst>
          </p:cNvPr>
          <p:cNvSpPr/>
          <p:nvPr/>
        </p:nvSpPr>
        <p:spPr>
          <a:xfrm>
            <a:off x="1124409" y="4007472"/>
            <a:ext cx="693470" cy="199197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15300A9-0023-4E14-8459-3385469F9FA1}"/>
              </a:ext>
            </a:extLst>
          </p:cNvPr>
          <p:cNvSpPr txBox="1"/>
          <p:nvPr/>
        </p:nvSpPr>
        <p:spPr>
          <a:xfrm>
            <a:off x="85552" y="1647092"/>
            <a:ext cx="4604497" cy="5847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de-AT" sz="1600" b="1">
                <a:solidFill>
                  <a:schemeClr val="accent1"/>
                </a:solidFill>
              </a:rPr>
              <a:t>API basierte Advisory Suite</a:t>
            </a:r>
          </a:p>
          <a:p>
            <a:pPr algn="ctr"/>
            <a:r>
              <a:rPr lang="de-DE" sz="1600" b="1">
                <a:solidFill>
                  <a:schemeClr val="accent1"/>
                </a:solidFill>
              </a:rPr>
              <a:t>(40 fertige Module/APIs als Basis</a:t>
            </a:r>
            <a:r>
              <a:rPr lang="en-US" sz="1600" b="1">
                <a:solidFill>
                  <a:schemeClr val="accent1"/>
                </a:solidFill>
              </a:rPr>
              <a:t>)</a:t>
            </a:r>
            <a:endParaRPr lang="de-AT" sz="1600" b="1">
              <a:solidFill>
                <a:schemeClr val="accent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E58EE96-25DF-477F-AB44-CAEF6F6B7ADE}"/>
              </a:ext>
            </a:extLst>
          </p:cNvPr>
          <p:cNvGrpSpPr/>
          <p:nvPr/>
        </p:nvGrpSpPr>
        <p:grpSpPr>
          <a:xfrm>
            <a:off x="8899220" y="1413170"/>
            <a:ext cx="2178387" cy="2469231"/>
            <a:chOff x="9101622" y="1429421"/>
            <a:chExt cx="1746009" cy="2106611"/>
          </a:xfrm>
        </p:grpSpPr>
        <p:pic>
          <p:nvPicPr>
            <p:cNvPr id="18" name="Picture 5">
              <a:extLst>
                <a:ext uri="{FF2B5EF4-FFF2-40B4-BE49-F238E27FC236}">
                  <a16:creationId xmlns:a16="http://schemas.microsoft.com/office/drawing/2014/main" id="{437C81D8-8D6A-4F32-8F74-55D9673B4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01622" y="1429421"/>
              <a:ext cx="1746009" cy="2106611"/>
            </a:xfrm>
            <a:prstGeom prst="rect">
              <a:avLst/>
            </a:prstGeom>
            <a:effectLst>
              <a:outerShdw blurRad="215900" dist="50800" dir="5400000" algn="ctr" rotWithShape="0">
                <a:srgbClr val="000000">
                  <a:alpha val="13000"/>
                </a:srgbClr>
              </a:outerShdw>
            </a:effectLst>
          </p:spPr>
        </p:pic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0037E2D5-0101-4B39-A340-C7A3D85271A6}"/>
                </a:ext>
              </a:extLst>
            </p:cNvPr>
            <p:cNvSpPr/>
            <p:nvPr/>
          </p:nvSpPr>
          <p:spPr>
            <a:xfrm>
              <a:off x="10563308" y="1454370"/>
              <a:ext cx="119269" cy="10915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C5A875C4-FB46-4427-8B87-F320E07AA289}"/>
              </a:ext>
            </a:extLst>
          </p:cNvPr>
          <p:cNvSpPr txBox="1"/>
          <p:nvPr/>
        </p:nvSpPr>
        <p:spPr>
          <a:xfrm>
            <a:off x="358775" y="6475991"/>
            <a:ext cx="5601140" cy="253916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r>
              <a:rPr lang="de-AT" sz="1050"/>
              <a:t>Ausführliche API-Dokumentation zu finden unter: </a:t>
            </a:r>
            <a:r>
              <a:rPr lang="de-AT" sz="105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cs.riskine.com</a:t>
            </a:r>
            <a:endParaRPr lang="de-AT" sz="105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3D9A9E60-CF96-4EAD-8BB8-C61C889BE8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089" y="2322931"/>
            <a:ext cx="3584408" cy="3118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7397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7F663C-CBF1-4F0E-A81B-7F1D7419D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2034"/>
            <a:ext cx="11832000" cy="1066801"/>
          </a:xfrm>
        </p:spPr>
        <p:txBody>
          <a:bodyPr/>
          <a:lstStyle/>
          <a:p>
            <a:r>
              <a:rPr lang="de-AT">
                <a:solidFill>
                  <a:schemeClr val="bg1"/>
                </a:solidFill>
              </a:rPr>
              <a:t>1. Use Case: Self-Service Lösungen für Webseite, Portal und Apps</a:t>
            </a:r>
          </a:p>
        </p:txBody>
      </p:sp>
      <p:sp>
        <p:nvSpPr>
          <p:cNvPr id="20" name="Rechteck 12">
            <a:extLst>
              <a:ext uri="{FF2B5EF4-FFF2-40B4-BE49-F238E27FC236}">
                <a16:creationId xmlns:a16="http://schemas.microsoft.com/office/drawing/2014/main" id="{F9C85C1C-1BCB-4331-A730-A2E5729E725B}"/>
              </a:ext>
            </a:extLst>
          </p:cNvPr>
          <p:cNvSpPr/>
          <p:nvPr/>
        </p:nvSpPr>
        <p:spPr>
          <a:xfrm>
            <a:off x="502239" y="1455563"/>
            <a:ext cx="27819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Ganzheitliche Bedarfsanalysen</a:t>
            </a:r>
          </a:p>
        </p:txBody>
      </p:sp>
      <p:sp>
        <p:nvSpPr>
          <p:cNvPr id="22" name="Rechteck 12">
            <a:extLst>
              <a:ext uri="{FF2B5EF4-FFF2-40B4-BE49-F238E27FC236}">
                <a16:creationId xmlns:a16="http://schemas.microsoft.com/office/drawing/2014/main" id="{F0C2FBC6-BB18-4FBB-8880-029747186134}"/>
              </a:ext>
            </a:extLst>
          </p:cNvPr>
          <p:cNvSpPr/>
          <p:nvPr/>
        </p:nvSpPr>
        <p:spPr>
          <a:xfrm>
            <a:off x="7811329" y="1455563"/>
            <a:ext cx="35761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Finanzberatu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8B45BE-EC60-4916-A786-4B852457FE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5225"/>
          <a:stretch/>
        </p:blipFill>
        <p:spPr>
          <a:xfrm>
            <a:off x="497321" y="1859201"/>
            <a:ext cx="1328662" cy="217330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B916944-2C32-4AC2-BD08-A394ACF209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7803" y="1763340"/>
            <a:ext cx="2896078" cy="191572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BAF0893-568D-4011-9DB2-16860D7635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712" y="1827857"/>
            <a:ext cx="1197489" cy="220464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18" name="Grafik 17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18F2AFB6-53AA-4069-A25E-9455DA9631E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0" t="5530" r="2631"/>
          <a:stretch/>
        </p:blipFill>
        <p:spPr>
          <a:xfrm>
            <a:off x="516649" y="4598591"/>
            <a:ext cx="2494435" cy="195297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sp>
        <p:nvSpPr>
          <p:cNvPr id="19" name="Rechteck 12">
            <a:extLst>
              <a:ext uri="{FF2B5EF4-FFF2-40B4-BE49-F238E27FC236}">
                <a16:creationId xmlns:a16="http://schemas.microsoft.com/office/drawing/2014/main" id="{FDB3D4F1-4FBC-4DFD-B1D7-6BBF4A9CC7DD}"/>
              </a:ext>
            </a:extLst>
          </p:cNvPr>
          <p:cNvSpPr/>
          <p:nvPr/>
        </p:nvSpPr>
        <p:spPr>
          <a:xfrm>
            <a:off x="4515730" y="1455563"/>
            <a:ext cx="24511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AT" sz="1400">
                <a:solidFill>
                  <a:schemeClr val="accent1"/>
                </a:solidFill>
              </a:rPr>
              <a:t>Produktabschlusstrecken</a:t>
            </a:r>
          </a:p>
        </p:txBody>
      </p:sp>
      <p:pic>
        <p:nvPicPr>
          <p:cNvPr id="26" name="Picture 4">
            <a:extLst>
              <a:ext uri="{FF2B5EF4-FFF2-40B4-BE49-F238E27FC236}">
                <a16:creationId xmlns:a16="http://schemas.microsoft.com/office/drawing/2014/main" id="{C1B492B6-E50E-4295-BDD6-0BDAE3D08FC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2587"/>
          <a:stretch/>
        </p:blipFill>
        <p:spPr>
          <a:xfrm>
            <a:off x="9278077" y="2926552"/>
            <a:ext cx="2625094" cy="177433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28" name="Picture 19">
            <a:extLst>
              <a:ext uri="{FF2B5EF4-FFF2-40B4-BE49-F238E27FC236}">
                <a16:creationId xmlns:a16="http://schemas.microsoft.com/office/drawing/2014/main" id="{A38BD3D2-092B-4451-B246-7377F0FE25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90224" y="4813182"/>
            <a:ext cx="2912947" cy="1471633"/>
          </a:xfrm>
          <a:prstGeom prst="rect">
            <a:avLst/>
          </a:prstGeom>
          <a:effectLst>
            <a:outerShdw blurRad="177800" dist="50800" dir="5400000" algn="ctr" rotWithShape="0">
              <a:srgbClr val="000000">
                <a:alpha val="18000"/>
              </a:srgbClr>
            </a:outerShdw>
          </a:effectLst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2BC7AA90-6CA8-48CD-86CA-1BE94ED0225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81" t="8807" r="4006"/>
          <a:stretch/>
        </p:blipFill>
        <p:spPr>
          <a:xfrm>
            <a:off x="4578174" y="1910854"/>
            <a:ext cx="1238250" cy="234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520645C-A819-477D-9FAD-914626D8E92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7553"/>
          <a:stretch/>
        </p:blipFill>
        <p:spPr>
          <a:xfrm>
            <a:off x="5426090" y="3502256"/>
            <a:ext cx="1189977" cy="234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D4337B-7F9E-4562-80CC-C1D475EAEF6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298"/>
          <a:stretch/>
        </p:blipFill>
        <p:spPr>
          <a:xfrm>
            <a:off x="7305815" y="4425949"/>
            <a:ext cx="2451135" cy="1952976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92E06F5-57FA-4602-857A-D00BA0D27CFA}"/>
              </a:ext>
            </a:extLst>
          </p:cNvPr>
          <p:cNvGrpSpPr/>
          <p:nvPr/>
        </p:nvGrpSpPr>
        <p:grpSpPr>
          <a:xfrm>
            <a:off x="3339464" y="4353160"/>
            <a:ext cx="1364381" cy="2310353"/>
            <a:chOff x="3339464" y="4353160"/>
            <a:chExt cx="1364381" cy="2310353"/>
          </a:xfrm>
        </p:grpSpPr>
        <p:pic>
          <p:nvPicPr>
            <p:cNvPr id="16" name="Picture 33">
              <a:extLst>
                <a:ext uri="{FF2B5EF4-FFF2-40B4-BE49-F238E27FC236}">
                  <a16:creationId xmlns:a16="http://schemas.microsoft.com/office/drawing/2014/main" id="{A3FD2319-E71B-4702-B5A6-99175E784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339464" y="4353160"/>
              <a:ext cx="1364381" cy="2310353"/>
            </a:xfrm>
            <a:prstGeom prst="rect">
              <a:avLst/>
            </a:prstGeom>
            <a:effectLst>
              <a:outerShdw blurRad="177800" dist="50800" dir="5400000" algn="ctr" rotWithShape="0">
                <a:srgbClr val="000000">
                  <a:alpha val="18000"/>
                </a:srgbClr>
              </a:outerShdw>
            </a:effectLst>
          </p:spPr>
        </p:pic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D1F4E3C-E03F-46E8-87B4-74F6CC658256}"/>
                </a:ext>
              </a:extLst>
            </p:cNvPr>
            <p:cNvSpPr/>
            <p:nvPr/>
          </p:nvSpPr>
          <p:spPr>
            <a:xfrm>
              <a:off x="3399194" y="4425949"/>
              <a:ext cx="301638" cy="169268"/>
            </a:xfrm>
            <a:prstGeom prst="rect">
              <a:avLst/>
            </a:prstGeom>
            <a:solidFill>
              <a:srgbClr val="E7EFFB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</p:grpSp>
    </p:spTree>
    <p:extLst>
      <p:ext uri="{BB962C8B-B14F-4D97-AF65-F5344CB8AC3E}">
        <p14:creationId xmlns:p14="http://schemas.microsoft.com/office/powerpoint/2010/main" val="15282435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7F663C-CBF1-4F0E-A81B-7F1D7419D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0"/>
            <a:ext cx="11670420" cy="1066801"/>
          </a:xfrm>
        </p:spPr>
        <p:txBody>
          <a:bodyPr/>
          <a:lstStyle/>
          <a:p>
            <a:r>
              <a:rPr lang="de-AT">
                <a:solidFill>
                  <a:schemeClr val="bg1"/>
                </a:solidFill>
              </a:rPr>
              <a:t>2. Use Case: Beraterlösunge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FB496D-DB79-4CCF-8666-4E5C8D436D2B}"/>
              </a:ext>
            </a:extLst>
          </p:cNvPr>
          <p:cNvSpPr/>
          <p:nvPr/>
        </p:nvSpPr>
        <p:spPr>
          <a:xfrm>
            <a:off x="10918620" y="1271658"/>
            <a:ext cx="267632" cy="21362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AT" sz="1500" b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1975EE7-AFDF-4C91-A2E2-931A0AE16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53" y="1264133"/>
            <a:ext cx="4327864" cy="4616388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E6228E71-C161-4315-9386-FD30D3C1F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1692" y="3525603"/>
            <a:ext cx="3475520" cy="318801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  <a:effectLst>
            <a:outerShdw blurRad="127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30073DA-12C3-4E3D-96D2-908B84E1C1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8062" y="3084885"/>
            <a:ext cx="2800312" cy="3628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93161889-3991-4B42-A9F4-A636199C2263}"/>
              </a:ext>
            </a:extLst>
          </p:cNvPr>
          <p:cNvSpPr/>
          <p:nvPr/>
        </p:nvSpPr>
        <p:spPr>
          <a:xfrm>
            <a:off x="11052436" y="1271658"/>
            <a:ext cx="690926" cy="30028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en-AU" sz="1500" b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71DE86D-FDDA-4317-8C02-1CF03F41CE2C}"/>
              </a:ext>
            </a:extLst>
          </p:cNvPr>
          <p:cNvGrpSpPr/>
          <p:nvPr/>
        </p:nvGrpSpPr>
        <p:grpSpPr>
          <a:xfrm>
            <a:off x="7873362" y="1264133"/>
            <a:ext cx="3955983" cy="4616388"/>
            <a:chOff x="8484042" y="1271658"/>
            <a:chExt cx="3420000" cy="4126329"/>
          </a:xfrm>
        </p:grpSpPr>
        <p:pic>
          <p:nvPicPr>
            <p:cNvPr id="9" name="Picture 5">
              <a:extLst>
                <a:ext uri="{FF2B5EF4-FFF2-40B4-BE49-F238E27FC236}">
                  <a16:creationId xmlns:a16="http://schemas.microsoft.com/office/drawing/2014/main" id="{564DAE61-642A-4A11-9877-AAF83BF41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484042" y="1271658"/>
              <a:ext cx="3420000" cy="4126329"/>
            </a:xfrm>
            <a:prstGeom prst="rect">
              <a:avLst/>
            </a:prstGeom>
            <a:effectLst>
              <a:outerShdw blurRad="215900" dist="50800" dir="5400000" algn="ctr" rotWithShape="0">
                <a:srgbClr val="000000">
                  <a:alpha val="13000"/>
                </a:srgbClr>
              </a:outerShdw>
            </a:effectLst>
          </p:spPr>
        </p:pic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2BB8AF66-A2FA-4459-B731-0C9846A85A39}"/>
                </a:ext>
              </a:extLst>
            </p:cNvPr>
            <p:cNvSpPr/>
            <p:nvPr/>
          </p:nvSpPr>
          <p:spPr>
            <a:xfrm>
              <a:off x="11376837" y="1309869"/>
              <a:ext cx="267632" cy="30028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de-AT" sz="1500" b="0"/>
            </a:p>
          </p:txBody>
        </p:sp>
      </p:grp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55C6D934-3324-4F4B-86A2-8A7805C4BBD9}"/>
              </a:ext>
            </a:extLst>
          </p:cNvPr>
          <p:cNvSpPr/>
          <p:nvPr/>
        </p:nvSpPr>
        <p:spPr>
          <a:xfrm>
            <a:off x="4857597" y="1571946"/>
            <a:ext cx="1380465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200">
                <a:solidFill>
                  <a:schemeClr val="bg1"/>
                </a:solidFill>
              </a:rPr>
              <a:t>1. Algorithmus: Objekte Risk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E36F2D04-394D-4AA7-B743-8E21909845F5}"/>
              </a:ext>
            </a:extLst>
          </p:cNvPr>
          <p:cNvSpPr/>
          <p:nvPr/>
        </p:nvSpPr>
        <p:spPr>
          <a:xfrm>
            <a:off x="6325817" y="2146778"/>
            <a:ext cx="1380465" cy="495300"/>
          </a:xfrm>
          <a:prstGeom prst="roundRect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de-AT" sz="1200">
                <a:solidFill>
                  <a:schemeClr val="bg1"/>
                </a:solidFill>
              </a:rPr>
              <a:t>3. Algorithmus: Finanzplanung</a:t>
            </a:r>
          </a:p>
        </p:txBody>
      </p: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B975777F-86E3-4625-953D-2EEC7C109B12}"/>
              </a:ext>
            </a:extLst>
          </p:cNvPr>
          <p:cNvCxnSpPr>
            <a:cxnSpLocks/>
            <a:stCxn id="11" idx="1"/>
          </p:cNvCxnSpPr>
          <p:nvPr/>
        </p:nvCxnSpPr>
        <p:spPr>
          <a:xfrm flipH="1">
            <a:off x="2368296" y="1819596"/>
            <a:ext cx="2489301" cy="481528"/>
          </a:xfrm>
          <a:prstGeom prst="straightConnector1">
            <a:avLst/>
          </a:prstGeom>
          <a:ln>
            <a:headEnd type="none" w="lg" len="lg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4A5CF1ED-632D-4E75-8875-2438CF39F0EB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7706282" y="2251784"/>
            <a:ext cx="569038" cy="142644"/>
          </a:xfrm>
          <a:prstGeom prst="straightConnector1">
            <a:avLst/>
          </a:prstGeom>
          <a:ln>
            <a:headEnd type="none" w="lg" len="lg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5208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B57ZJaRqqMEpaFQyAG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A6fW0SRSWvmkTNiD6m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J9n_ovLmVUQUPTEM1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fk8oLOYHhTigVr6nuS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KxctHynAOavLEPrbbP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uzhm9mwvGj6H5rrk5d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vk_vS1MsjF1R0Xu_xf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9JGGUPTVmDhzBNMXgv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ynZCuU9vbruFL.MO021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8V5bBsaEsdIdNs_tRO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gq5QpQcKmOaKotsGVo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0mRuRM.yLxXC.AFaqg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wRrGiFeTBM9Xx3D79f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YYIay2wMLNLHwok9r4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rawKU.hRYwcXUhqWWi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yJB8VTk6diKM8uaWi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aUYcJynzas1pz3lK8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j926GhduJkij99S9kP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9.Xr3EGFxpTZCxLvfP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toDtKGRva4qw.f5Hvo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1P_neoTNGJIFJSktDV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fiY2VaTw6dwBtZoWyi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2NnuFjRmGPJgqrfRFe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IyYX7dQtOe3z3UD2ix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6IMZs0TzeEzm2XOIRH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WFieO5RUu3xHWviEI4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pJc8Esq1zq6CeT93XS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2KcCPlSgW1e7Rqm.M.Ig"/>
</p:tagLst>
</file>

<file path=ppt/theme/theme1.xml><?xml version="1.0" encoding="utf-8"?>
<a:theme xmlns:a="http://schemas.openxmlformats.org/drawingml/2006/main" name="riskine Presentation">
  <a:themeElements>
    <a:clrScheme name="Custom 2">
      <a:dk1>
        <a:srgbClr val="003F56"/>
      </a:dk1>
      <a:lt1>
        <a:srgbClr val="FFFFFF"/>
      </a:lt1>
      <a:dk2>
        <a:srgbClr val="4D505B"/>
      </a:dk2>
      <a:lt2>
        <a:srgbClr val="F0F0F0"/>
      </a:lt2>
      <a:accent1>
        <a:srgbClr val="16A79D"/>
      </a:accent1>
      <a:accent2>
        <a:srgbClr val="59C3C0"/>
      </a:accent2>
      <a:accent3>
        <a:srgbClr val="8CD7D7"/>
      </a:accent3>
      <a:accent4>
        <a:srgbClr val="CF4858"/>
      </a:accent4>
      <a:accent5>
        <a:srgbClr val="F3AC41"/>
      </a:accent5>
      <a:accent6>
        <a:srgbClr val="80618B"/>
      </a:accent6>
      <a:hlink>
        <a:srgbClr val="16A79D"/>
      </a:hlink>
      <a:folHlink>
        <a:srgbClr val="4D505B"/>
      </a:folHlink>
    </a:clrScheme>
    <a:fontScheme name="riskine CI">
      <a:majorFont>
        <a:latin typeface="Intro Bold"/>
        <a:ea typeface=""/>
        <a:cs typeface=""/>
      </a:majorFont>
      <a:minorFont>
        <a:latin typeface="Intro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  <a:effectLst/>
      </a:spPr>
      <a:bodyPr lIns="72000" tIns="72000" rIns="72000" bIns="72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  <a:headEnd type="none" w="lg" len="lg"/>
          <a:tailEnd type="none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skine_Template_16_9_PIC.potx" id="{A963FB1E-6B65-434C-8EC8-FD3DDDFB9E3D}" vid="{9A0F25C3-75F8-42C8-83C6-8E6A5FC72A5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89B01CB447D0C43B571C337B49ED785" ma:contentTypeVersion="12" ma:contentTypeDescription="Ein neues Dokument erstellen." ma:contentTypeScope="" ma:versionID="f7343cd3c988b8294919b6e4232b0b29">
  <xsd:schema xmlns:xsd="http://www.w3.org/2001/XMLSchema" xmlns:xs="http://www.w3.org/2001/XMLSchema" xmlns:p="http://schemas.microsoft.com/office/2006/metadata/properties" xmlns:ns2="874be7e0-0184-4598-aa01-f7c3dd14bb5d" xmlns:ns3="ba314498-a116-4406-aff4-9a8894a74c26" targetNamespace="http://schemas.microsoft.com/office/2006/metadata/properties" ma:root="true" ma:fieldsID="51029df685426109252866f4fa0da9e3" ns2:_="" ns3:_="">
    <xsd:import namespace="874be7e0-0184-4598-aa01-f7c3dd14bb5d"/>
    <xsd:import namespace="ba314498-a116-4406-aff4-9a8894a74c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4be7e0-0184-4598-aa01-f7c3dd14bb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314498-a116-4406-aff4-9a8894a74c2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6B9D6F-08CF-414B-9667-9CB974E7D83F}">
  <ds:schemaRefs>
    <ds:schemaRef ds:uri="874be7e0-0184-4598-aa01-f7c3dd14bb5d"/>
    <ds:schemaRef ds:uri="ba314498-a116-4406-aff4-9a8894a74c2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F27C58A-A68A-43D6-8DD6-11057A27B9DB}">
  <ds:schemaRefs>
    <ds:schemaRef ds:uri="874be7e0-0184-4598-aa01-f7c3dd14bb5d"/>
    <ds:schemaRef ds:uri="ba314498-a116-4406-aff4-9a8894a74c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FB4BC42-6B7E-4A70-9D23-452743802CA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iskine_Template_16_9_PIC_09032021</Template>
  <TotalTime>0</TotalTime>
  <Words>629</Words>
  <Application>Microsoft Office PowerPoint</Application>
  <PresentationFormat>Breitbild</PresentationFormat>
  <Paragraphs>115</Paragraphs>
  <Slides>16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7" baseType="lpstr">
      <vt:lpstr>Arial</vt:lpstr>
      <vt:lpstr>Arial Narrow</vt:lpstr>
      <vt:lpstr>Calibri</vt:lpstr>
      <vt:lpstr>Intro</vt:lpstr>
      <vt:lpstr>Intro Bold</vt:lpstr>
      <vt:lpstr>Intro Regular</vt:lpstr>
      <vt:lpstr>Intro SemiBold</vt:lpstr>
      <vt:lpstr>Segoe UI</vt:lpstr>
      <vt:lpstr>Wingdings</vt:lpstr>
      <vt:lpstr>riskine Presentation</vt:lpstr>
      <vt:lpstr>think-cell Slide</vt:lpstr>
      <vt:lpstr>Kundenzentrierte Beratungslösungen</vt:lpstr>
      <vt:lpstr>Ihr Partner für digitale Beratungslösungen für Banken und Versicherungen</vt:lpstr>
      <vt:lpstr>Im Kern unser Advisory Suite stehen die Kunden mit Ihren Risiken und Träumen und nicht Versicherungsprodukte</vt:lpstr>
      <vt:lpstr>Risiken der Kunden werden mithilfe von Datenbanken &amp; -modellen errechnet &amp; visualisiert</vt:lpstr>
      <vt:lpstr>Subjektiven Risikopräferenzen werden über alle Risiken hinweg ermittelt</vt:lpstr>
      <vt:lpstr>Starten mit Wünsche &amp; -träume, ganzheitlichen Lebenszyklusmodell inkl. Risiken </vt:lpstr>
      <vt:lpstr>Effiziente Entwicklung von schönen individuellen Lösungen durch den Einsatz von API Baukasten</vt:lpstr>
      <vt:lpstr>1. Use Case: Self-Service Lösungen für Webseite, Portal und Apps</vt:lpstr>
      <vt:lpstr>2. Use Case: Beraterlösungen</vt:lpstr>
      <vt:lpstr>3. Use Case: Bancassurance</vt:lpstr>
      <vt:lpstr>4. Use Case: Beratung von Firmenkunden – Von der Risikoanalyse bis zum ESG Analyser</vt:lpstr>
      <vt:lpstr>5. Use Case: Chatbots -&gt; Verfügbarkeit 24/7 zu marginalen Kosten</vt:lpstr>
      <vt:lpstr>Umfangreiche Analysen sind in all unseren Produkten inkludiert</vt:lpstr>
      <vt:lpstr>Die Lösungen werden mit einem umfangreichen Administration Tools geliefert</vt:lpstr>
      <vt:lpstr>Versicherungen, Banken &amp; Makler vertrauen unseren Lösungen in acht Märkt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TIVE BERATUNSLÖSUNGEN  FÜR DEN FINANZVERTRIEB</dc:title>
  <dc:creator>Ziegelboeck, Christine</dc:creator>
  <cp:lastModifiedBy>Ralf Widtmann</cp:lastModifiedBy>
  <cp:revision>1</cp:revision>
  <cp:lastPrinted>2018-06-12T16:30:42Z</cp:lastPrinted>
  <dcterms:created xsi:type="dcterms:W3CDTF">2021-03-09T15:36:28Z</dcterms:created>
  <dcterms:modified xsi:type="dcterms:W3CDTF">2022-04-12T13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9B01CB447D0C43B571C337B49ED785</vt:lpwstr>
  </property>
  <property fmtid="{D5CDD505-2E9C-101B-9397-08002B2CF9AE}" pid="3" name="AuthorIds_UIVersion_3">
    <vt:lpwstr>40</vt:lpwstr>
  </property>
</Properties>
</file>